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0" r:id="rId4"/>
  </p:sldMasterIdLst>
  <p:notesMasterIdLst>
    <p:notesMasterId r:id="rId21"/>
  </p:notesMasterIdLst>
  <p:sldIdLst>
    <p:sldId id="530" r:id="rId5"/>
    <p:sldId id="594" r:id="rId6"/>
    <p:sldId id="595" r:id="rId7"/>
    <p:sldId id="596" r:id="rId8"/>
    <p:sldId id="597" r:id="rId9"/>
    <p:sldId id="598" r:id="rId10"/>
    <p:sldId id="599" r:id="rId11"/>
    <p:sldId id="600" r:id="rId12"/>
    <p:sldId id="601" r:id="rId13"/>
    <p:sldId id="602" r:id="rId14"/>
    <p:sldId id="603" r:id="rId15"/>
    <p:sldId id="607" r:id="rId16"/>
    <p:sldId id="604" r:id="rId17"/>
    <p:sldId id="605" r:id="rId18"/>
    <p:sldId id="606" r:id="rId19"/>
    <p:sldId id="515" r:id="rId20"/>
  </p:sldIdLst>
  <p:sldSz cx="12192000" cy="6858000"/>
  <p:notesSz cx="6858000" cy="9144000"/>
  <p:embeddedFontLst>
    <p:embeddedFont>
      <p:font typeface="Calibri" panose="020F0502020204030204" pitchFamily="34" charset="0"/>
      <p:regular r:id="rId22"/>
      <p:bold r:id="rId23"/>
      <p:italic r:id="rId24"/>
      <p:boldItalic r:id="rId25"/>
    </p:embeddedFont>
    <p:embeddedFont>
      <p:font typeface="Century Gothic" panose="020B0502020202020204" pitchFamily="34" charset="0"/>
      <p:regular r:id="rId26"/>
      <p:bold r:id="rId27"/>
      <p:italic r:id="rId28"/>
      <p:boldItalic r:id="rId29"/>
    </p:embeddedFont>
    <p:embeddedFont>
      <p:font typeface="Elevance Sans" pitchFamily="50" charset="0"/>
      <p:regular r:id="rId30"/>
      <p:bold r:id="rId31"/>
      <p:italic r:id="rId32"/>
      <p:boldItalic r:id="rId33"/>
    </p:embeddedFont>
    <p:embeddedFont>
      <p:font typeface="Elevance Sans Medium" pitchFamily="50" charset="0"/>
      <p:regular r:id="rId34"/>
      <p:italic r:id="rId35"/>
    </p:embeddedFont>
    <p:embeddedFont>
      <p:font typeface="Georgia" panose="02040502050405020303" pitchFamily="18" charset="0"/>
      <p:regular r:id="rId36"/>
      <p:bold r:id="rId37"/>
      <p:italic r:id="rId38"/>
      <p:boldItalic r:id="rId39"/>
    </p:embeddedFont>
  </p:embeddedFontLst>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12" userDrawn="1">
          <p15:clr>
            <a:srgbClr val="A4A3A4"/>
          </p15:clr>
        </p15:guide>
        <p15:guide id="2" orient="horz" pos="432" userDrawn="1">
          <p15:clr>
            <a:srgbClr val="A4A3A4"/>
          </p15:clr>
        </p15:guide>
        <p15:guide id="3" orient="horz" pos="2208" userDrawn="1">
          <p15:clr>
            <a:srgbClr val="A4A3A4"/>
          </p15:clr>
        </p15:guide>
        <p15:guide id="4" pos="288" userDrawn="1">
          <p15:clr>
            <a:srgbClr val="A4A3A4"/>
          </p15:clr>
        </p15:guide>
        <p15:guide id="5" orient="horz" pos="2928" userDrawn="1">
          <p15:clr>
            <a:srgbClr val="A4A3A4"/>
          </p15:clr>
        </p15:guide>
        <p15:guide id="6" pos="5856" userDrawn="1">
          <p15:clr>
            <a:srgbClr val="A4A3A4"/>
          </p15:clr>
        </p15:guide>
        <p15:guide id="7" pos="451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C44530-843B-0B89-725B-A8C68A148816}" name="BOLDUC, ASHLEY" initials="BA" userId="BOLDUC, ASHLEY" providerId="None"/>
  <p188:author id="{C659A05B-F490-2502-4233-91EDE52467BD}" name="Lang, Jaime" initials="LJ" userId="S::AG20055@ad.wellpoint.com::e4f1f9b4-6a62-470f-bdf1-6f112a02c258" providerId="AD"/>
  <p188:author id="{A1D5657E-CED8-7D56-263F-17CF7B4B4D12}" name="Heath, Lee Ann" initials="HA" userId="S::ag85170@ad.wellpoint.com::2d313c29-cbb9-4646-ba5c-3b3dec1f1eb8" providerId="AD"/>
  <p188:author id="{E8D99D80-5A1A-9715-4A05-2200B718EB94}" name="Lee Ann Heath" initials="LAH" userId="S::AG85170@ad.wellpoint.com::2d313c29-cbb9-4646-ba5c-3b3dec1f1eb8" providerId="AD"/>
  <p188:author id="{B7A6B494-5B97-2516-C150-C6D337C0D6E1}" name="Bartlett, Kelsey" initials="BK" userId="S::AF68058@ad.wellpoint.com::b8ec7b14-44f6-46ab-bd72-f7365f64f3a0" providerId="AD"/>
  <p188:author id="{31431C96-7AD0-A584-774E-2125A96D9D57}" name="Arisso, Manuel A." initials="AA" userId="S::ad91590@ad.wellpoint.com::98dfefb7-d4f2-4e6f-a474-01371e11ce52" providerId="AD"/>
  <p188:author id="{14AB31C7-495C-E0B4-754D-BEB52653A0B6}" name="Guest User" initials="GU" userId="S::urn:spo:anon#b8d1c180406f60aa8d48cf3098e554ab10991fc21ec9e43f3a8ebfb31c4e1f1e::" providerId="AD"/>
  <p188:author id="{A9AB9EC9-59D1-F6DE-6A17-0471A72E26BF}" name="Wilhelm, Laura" initials="WL" userId="S::ab24330@ad.wellpoint.com::def52e15-579a-453a-8cf4-c07d0926c260" providerId="AD"/>
  <p188:author id="{29367BD3-5691-A20E-583D-27C3D34F9153}" name="Dabrowski, Kristen" initials="KD" userId="S::AH09040@ad.wellpoint.com::1bad2380-bfa8-43f3-bfe4-f19c9625e372" providerId="AD"/>
  <p188:author id="{859C23DC-393E-E215-974A-988A10ADFC65}" name="Dabrowski, Kristen" initials="DK" userId="S::ah09040@ad.wellpoint.com::1bad2380-bfa8-43f3-bfe4-f19c9625e372" providerId="AD"/>
  <p188:author id="{0E5C3BEF-ED77-DF1F-D033-7BD1E9A3A367}" name="Wiley, Deidra" initials="WD" userId="S::AH67496@ad.wellpoint.com::dc3a9c54-acd8-4ee7-a4c2-6b0ea58bb109" providerId="AD"/>
  <p188:author id="{4D21ECF8-7E4B-0ADC-6099-38E23CD24C9B}" name="Bartlett, Kelsey" initials="BK" userId="S::af68058@ad.wellpoint.com::b8ec7b14-44f6-46ab-bd72-f7365f64f3a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1B49"/>
    <a:srgbClr val="48494A"/>
    <a:srgbClr val="5009B5"/>
    <a:srgbClr val="37373B"/>
    <a:srgbClr val="4C4341"/>
    <a:srgbClr val="E9D4B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60"/>
  </p:normalViewPr>
  <p:slideViewPr>
    <p:cSldViewPr snapToGrid="0">
      <p:cViewPr varScale="1">
        <p:scale>
          <a:sx n="63" d="100"/>
          <a:sy n="63" d="100"/>
        </p:scale>
        <p:origin x="780" y="56"/>
      </p:cViewPr>
      <p:guideLst>
        <p:guide orient="horz" pos="1512"/>
        <p:guide orient="horz" pos="432"/>
        <p:guide orient="horz" pos="2208"/>
        <p:guide pos="288"/>
        <p:guide orient="horz" pos="2928"/>
        <p:guide pos="5856"/>
        <p:guide pos="451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5.fntdata"/><Relationship Id="rId39" Type="http://schemas.openxmlformats.org/officeDocument/2006/relationships/font" Target="fonts/font18.fntdata"/><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font" Target="fonts/font13.fntdata"/><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font" Target="fonts/font1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8.fntdata"/><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font" Target="fonts/font16.fntdata"/><Relationship Id="rId40" Type="http://schemas.openxmlformats.org/officeDocument/2006/relationships/tags" Target="tags/tag1.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font" Target="fonts/font15.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10.fntdata"/><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font" Target="fonts/font14.fntdata"/><Relationship Id="rId43"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Elevance Sans"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Elevance Sans" pitchFamily="2" charset="77"/>
              </a:defRPr>
            </a:lvl1pPr>
          </a:lstStyle>
          <a:p>
            <a:fld id="{40C36D6C-D64D-5C49-BA05-1247137E2D8B}" type="datetimeFigureOut">
              <a:rPr lang="en-US" smtClean="0"/>
              <a:pPr/>
              <a:t>5/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Elevance Sans"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Elevance Sans" pitchFamily="2" charset="77"/>
              </a:defRPr>
            </a:lvl1pPr>
          </a:lstStyle>
          <a:p>
            <a:fld id="{FF050AAF-C99E-5E47-BF9E-3FBCE85A751F}" type="slidenum">
              <a:rPr lang="en-US" smtClean="0"/>
              <a:pPr/>
              <a:t>‹#›</a:t>
            </a:fld>
            <a:endParaRPr lang="en-US"/>
          </a:p>
        </p:txBody>
      </p:sp>
    </p:spTree>
    <p:extLst>
      <p:ext uri="{BB962C8B-B14F-4D97-AF65-F5344CB8AC3E}">
        <p14:creationId xmlns:p14="http://schemas.microsoft.com/office/powerpoint/2010/main" val="418684562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Elevance Sans" pitchFamily="2" charset="77"/>
        <a:ea typeface="+mn-ea"/>
        <a:cs typeface="+mn-cs"/>
      </a:defRPr>
    </a:lvl1pPr>
    <a:lvl2pPr marL="457200" algn="l" defTabSz="914400" rtl="0" eaLnBrk="1" latinLnBrk="0" hangingPunct="1">
      <a:defRPr sz="1200" b="0" i="0" kern="1200">
        <a:solidFill>
          <a:schemeClr val="tx1"/>
        </a:solidFill>
        <a:latin typeface="Elevance Sans" pitchFamily="2" charset="77"/>
        <a:ea typeface="+mn-ea"/>
        <a:cs typeface="+mn-cs"/>
      </a:defRPr>
    </a:lvl2pPr>
    <a:lvl3pPr marL="914400" algn="l" defTabSz="914400" rtl="0" eaLnBrk="1" latinLnBrk="0" hangingPunct="1">
      <a:defRPr sz="1200" b="0" i="0" kern="1200">
        <a:solidFill>
          <a:schemeClr val="tx1"/>
        </a:solidFill>
        <a:latin typeface="Elevance Sans" pitchFamily="2" charset="77"/>
        <a:ea typeface="+mn-ea"/>
        <a:cs typeface="+mn-cs"/>
      </a:defRPr>
    </a:lvl3pPr>
    <a:lvl4pPr marL="1371600" algn="l" defTabSz="914400" rtl="0" eaLnBrk="1" latinLnBrk="0" hangingPunct="1">
      <a:defRPr sz="1200" b="0" i="0" kern="1200">
        <a:solidFill>
          <a:schemeClr val="tx1"/>
        </a:solidFill>
        <a:latin typeface="Elevance Sans" pitchFamily="2" charset="77"/>
        <a:ea typeface="+mn-ea"/>
        <a:cs typeface="+mn-cs"/>
      </a:defRPr>
    </a:lvl4pPr>
    <a:lvl5pPr marL="1828800" algn="l" defTabSz="914400" rtl="0" eaLnBrk="1" latinLnBrk="0" hangingPunct="1">
      <a:defRPr sz="1200" b="0" i="0" kern="1200">
        <a:solidFill>
          <a:schemeClr val="tx1"/>
        </a:solidFill>
        <a:latin typeface="Elevance Sans"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latin typeface="Arial" charset="0"/>
                <a:ea typeface="Arial" charset="0"/>
                <a:cs typeface="Arial" charset="0"/>
              </a:rPr>
              <a:t>Carrier EAP Annual Report 2022</a:t>
            </a:r>
          </a:p>
          <a:p>
            <a:endParaRPr lang="en-US" dirty="0"/>
          </a:p>
        </p:txBody>
      </p:sp>
      <p:sp>
        <p:nvSpPr>
          <p:cNvPr id="4" name="Slide Number Placeholder 3"/>
          <p:cNvSpPr>
            <a:spLocks noGrp="1"/>
          </p:cNvSpPr>
          <p:nvPr>
            <p:ph type="sldNum" sz="quarter" idx="10"/>
          </p:nvPr>
        </p:nvSpPr>
        <p:spPr/>
        <p:txBody>
          <a:bodyPr/>
          <a:lstStyle/>
          <a:p>
            <a:fld id="{FF050AAF-C99E-5E47-BF9E-3FBCE85A751F}" type="slidenum">
              <a:rPr lang="en-US" smtClean="0"/>
              <a:pPr/>
              <a:t>1</a:t>
            </a:fld>
            <a:endParaRPr lang="en-US" dirty="0"/>
          </a:p>
        </p:txBody>
      </p:sp>
    </p:spTree>
    <p:extLst>
      <p:ext uri="{BB962C8B-B14F-4D97-AF65-F5344CB8AC3E}">
        <p14:creationId xmlns:p14="http://schemas.microsoft.com/office/powerpoint/2010/main" val="2207476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2</a:t>
            </a:fld>
            <a:endParaRPr lang="en-US" dirty="0"/>
          </a:p>
        </p:txBody>
      </p:sp>
    </p:spTree>
    <p:extLst>
      <p:ext uri="{BB962C8B-B14F-4D97-AF65-F5344CB8AC3E}">
        <p14:creationId xmlns:p14="http://schemas.microsoft.com/office/powerpoint/2010/main" val="1267781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3</a:t>
            </a:fld>
            <a:endParaRPr lang="en-US" dirty="0"/>
          </a:p>
        </p:txBody>
      </p:sp>
    </p:spTree>
    <p:extLst>
      <p:ext uri="{BB962C8B-B14F-4D97-AF65-F5344CB8AC3E}">
        <p14:creationId xmlns:p14="http://schemas.microsoft.com/office/powerpoint/2010/main" val="586069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5C0101-3806-C043-98DC-D442682FFB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3437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defRPr sz="4200">
                <a:solidFill>
                  <a:schemeClr val="tx2"/>
                </a:solidFill>
                <a:latin typeface="Gill Sans MT" panose="020B0502020104020203" pitchFamily="34" charset="0"/>
                <a:ea typeface="ＭＳ Ｐゴシック" panose="020B0600070205080204" pitchFamily="34" charset="-128"/>
              </a:defRPr>
            </a:lvl1pPr>
            <a:lvl2pPr marL="742950" indent="-285750" defTabSz="931863" eaLnBrk="0" hangingPunct="0">
              <a:defRPr sz="4200">
                <a:solidFill>
                  <a:schemeClr val="tx2"/>
                </a:solidFill>
                <a:latin typeface="Gill Sans MT" panose="020B0502020104020203" pitchFamily="34" charset="0"/>
                <a:ea typeface="ＭＳ Ｐゴシック" panose="020B0600070205080204" pitchFamily="34" charset="-128"/>
              </a:defRPr>
            </a:lvl2pPr>
            <a:lvl3pPr marL="1143000" indent="-228600" defTabSz="931863" eaLnBrk="0" hangingPunct="0">
              <a:defRPr sz="4200">
                <a:solidFill>
                  <a:schemeClr val="tx2"/>
                </a:solidFill>
                <a:latin typeface="Gill Sans MT" panose="020B0502020104020203" pitchFamily="34" charset="0"/>
                <a:ea typeface="ＭＳ Ｐゴシック" panose="020B0600070205080204" pitchFamily="34" charset="-128"/>
              </a:defRPr>
            </a:lvl3pPr>
            <a:lvl4pPr marL="1600200" indent="-228600" defTabSz="931863" eaLnBrk="0" hangingPunct="0">
              <a:defRPr sz="4200">
                <a:solidFill>
                  <a:schemeClr val="tx2"/>
                </a:solidFill>
                <a:latin typeface="Gill Sans MT" panose="020B0502020104020203" pitchFamily="34" charset="0"/>
                <a:ea typeface="ＭＳ Ｐゴシック" panose="020B0600070205080204" pitchFamily="34" charset="-128"/>
              </a:defRPr>
            </a:lvl4pPr>
            <a:lvl5pPr marL="2057400" indent="-228600" defTabSz="931863" eaLnBrk="0" hangingPunct="0">
              <a:defRPr sz="4200">
                <a:solidFill>
                  <a:schemeClr val="tx2"/>
                </a:solidFill>
                <a:latin typeface="Gill Sans MT" panose="020B0502020104020203" pitchFamily="34" charset="0"/>
                <a:ea typeface="ＭＳ Ｐゴシック" panose="020B0600070205080204" pitchFamily="34" charset="-128"/>
              </a:defRPr>
            </a:lvl5pPr>
            <a:lvl6pPr marL="2514600" indent="-228600" defTabSz="931863" eaLnBrk="0" fontAlgn="base" hangingPunct="0">
              <a:spcBef>
                <a:spcPct val="0"/>
              </a:spcBef>
              <a:spcAft>
                <a:spcPct val="0"/>
              </a:spcAft>
              <a:defRPr sz="4200">
                <a:solidFill>
                  <a:schemeClr val="tx2"/>
                </a:solidFill>
                <a:latin typeface="Gill Sans MT" panose="020B0502020104020203" pitchFamily="34" charset="0"/>
                <a:ea typeface="ＭＳ Ｐゴシック" panose="020B0600070205080204" pitchFamily="34" charset="-128"/>
              </a:defRPr>
            </a:lvl6pPr>
            <a:lvl7pPr marL="2971800" indent="-228600" defTabSz="931863" eaLnBrk="0" fontAlgn="base" hangingPunct="0">
              <a:spcBef>
                <a:spcPct val="0"/>
              </a:spcBef>
              <a:spcAft>
                <a:spcPct val="0"/>
              </a:spcAft>
              <a:defRPr sz="4200">
                <a:solidFill>
                  <a:schemeClr val="tx2"/>
                </a:solidFill>
                <a:latin typeface="Gill Sans MT" panose="020B0502020104020203" pitchFamily="34" charset="0"/>
                <a:ea typeface="ＭＳ Ｐゴシック" panose="020B0600070205080204" pitchFamily="34" charset="-128"/>
              </a:defRPr>
            </a:lvl7pPr>
            <a:lvl8pPr marL="3429000" indent="-228600" defTabSz="931863" eaLnBrk="0" fontAlgn="base" hangingPunct="0">
              <a:spcBef>
                <a:spcPct val="0"/>
              </a:spcBef>
              <a:spcAft>
                <a:spcPct val="0"/>
              </a:spcAft>
              <a:defRPr sz="4200">
                <a:solidFill>
                  <a:schemeClr val="tx2"/>
                </a:solidFill>
                <a:latin typeface="Gill Sans MT" panose="020B0502020104020203" pitchFamily="34" charset="0"/>
                <a:ea typeface="ＭＳ Ｐゴシック" panose="020B0600070205080204" pitchFamily="34" charset="-128"/>
              </a:defRPr>
            </a:lvl8pPr>
            <a:lvl9pPr marL="3886200" indent="-228600" defTabSz="931863" eaLnBrk="0" fontAlgn="base" hangingPunct="0">
              <a:spcBef>
                <a:spcPct val="0"/>
              </a:spcBef>
              <a:spcAft>
                <a:spcPct val="0"/>
              </a:spcAft>
              <a:defRPr sz="4200">
                <a:solidFill>
                  <a:schemeClr val="tx2"/>
                </a:solidFill>
                <a:latin typeface="Gill Sans MT" panose="020B0502020104020203" pitchFamily="34" charset="0"/>
                <a:ea typeface="ＭＳ Ｐゴシック" panose="020B0600070205080204" pitchFamily="34" charset="-128"/>
              </a:defRPr>
            </a:lvl9pPr>
          </a:lstStyle>
          <a:p>
            <a:fld id="{FE2D45E4-2620-45BD-97CB-99BCC37FC64F}" type="slidenum">
              <a:rPr lang="en-US" altLang="en-US" sz="1200">
                <a:solidFill>
                  <a:schemeClr val="tx1"/>
                </a:solidFill>
                <a:latin typeface="Arial" panose="020B0604020202020204" pitchFamily="34" charset="0"/>
              </a:rPr>
              <a:pPr/>
              <a:t>14</a:t>
            </a:fld>
            <a:endParaRPr lang="en-US" altLang="en-US" sz="1200">
              <a:solidFill>
                <a:schemeClr val="tx1"/>
              </a:solidFill>
              <a:latin typeface="Arial" panose="020B0604020202020204" pitchFamily="34" charset="0"/>
            </a:endParaRPr>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ea typeface="ＭＳ Ｐゴシック" panose="020B0600070205080204" pitchFamily="34" charset="-128"/>
            </a:endParaRPr>
          </a:p>
        </p:txBody>
      </p:sp>
    </p:spTree>
    <p:extLst>
      <p:ext uri="{BB962C8B-B14F-4D97-AF65-F5344CB8AC3E}">
        <p14:creationId xmlns:p14="http://schemas.microsoft.com/office/powerpoint/2010/main" val="35033609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4.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4.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5.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5.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6.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17.svg"/><Relationship Id="rId5" Type="http://schemas.openxmlformats.org/officeDocument/2006/relationships/image" Target="../media/image12.png"/><Relationship Id="rId4" Type="http://schemas.openxmlformats.org/officeDocument/2006/relationships/image" Target="../media/image1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18.svg"/><Relationship Id="rId5" Type="http://schemas.openxmlformats.org/officeDocument/2006/relationships/image" Target="../media/image12.png"/><Relationship Id="rId4" Type="http://schemas.openxmlformats.org/officeDocument/2006/relationships/image" Target="../media/image1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6.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8.svg"/><Relationship Id="rId5" Type="http://schemas.openxmlformats.org/officeDocument/2006/relationships/image" Target="../media/image12.png"/><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140380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5089" y="4517136"/>
            <a:ext cx="5638800" cy="228600"/>
          </a:xfrm>
          <a:prstGeom prst="rect">
            <a:avLst/>
          </a:prstGeom>
        </p:spPr>
        <p:txBody>
          <a:bodyPr/>
          <a:lstStyle>
            <a:lvl1pPr marL="0" indent="0" algn="l">
              <a:buNone/>
              <a:defRPr sz="1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ext Placeholder 11">
            <a:extLst>
              <a:ext uri="{FF2B5EF4-FFF2-40B4-BE49-F238E27FC236}">
                <a16:creationId xmlns:a16="http://schemas.microsoft.com/office/drawing/2014/main" id="{1FF0BD0F-29F1-5746-9751-EC930E120D34}"/>
              </a:ext>
            </a:extLst>
          </p:cNvPr>
          <p:cNvSpPr>
            <a:spLocks noGrp="1"/>
          </p:cNvSpPr>
          <p:nvPr>
            <p:ph type="body" sz="quarter" idx="11" hasCustomPrompt="1"/>
          </p:nvPr>
        </p:nvSpPr>
        <p:spPr>
          <a:xfrm>
            <a:off x="415089" y="4758997"/>
            <a:ext cx="5638800" cy="224536"/>
          </a:xfrm>
          <a:prstGeom prst="rect">
            <a:avLst/>
          </a:prstGeom>
        </p:spPr>
        <p:txBody>
          <a:bodyPr vert="horz" lIns="0" tIns="0" rIns="0" bIns="0" rtlCol="0">
            <a:noAutofit/>
          </a:bodyPr>
          <a:lstStyle>
            <a:lvl1pPr>
              <a:defRPr lang="en-US" sz="1800" b="0" i="0" dirty="0">
                <a:latin typeface="Elevance Sans" pitchFamily="2" charset="77"/>
              </a:defRPr>
            </a:lvl1pPr>
          </a:lstStyle>
          <a:p>
            <a:pPr lvl="0"/>
            <a:r>
              <a:rPr lang="en-US"/>
              <a:t>Click to add date</a:t>
            </a:r>
          </a:p>
        </p:txBody>
      </p:sp>
      <p:sp>
        <p:nvSpPr>
          <p:cNvPr id="10" name="Title 1">
            <a:extLst>
              <a:ext uri="{FF2B5EF4-FFF2-40B4-BE49-F238E27FC236}">
                <a16:creationId xmlns:a16="http://schemas.microsoft.com/office/drawing/2014/main" id="{42A56EB4-D385-CA47-98BE-9B9C64B5BD70}"/>
              </a:ext>
            </a:extLst>
          </p:cNvPr>
          <p:cNvSpPr>
            <a:spLocks noGrp="1"/>
          </p:cNvSpPr>
          <p:nvPr>
            <p:ph type="ctrTitle" hasCustomPrompt="1"/>
          </p:nvPr>
        </p:nvSpPr>
        <p:spPr>
          <a:xfrm>
            <a:off x="415089" y="2587226"/>
            <a:ext cx="8349500" cy="1567689"/>
          </a:xfrm>
        </p:spPr>
        <p:txBody>
          <a:bodyPr vert="horz" anchor="b" anchorCtr="0"/>
          <a:lstStyle>
            <a:lvl1pPr algn="l">
              <a:defRPr sz="5200">
                <a:solidFill>
                  <a:schemeClr val="tx1"/>
                </a:solidFill>
              </a:defRPr>
            </a:lvl1pPr>
          </a:lstStyle>
          <a:p>
            <a:r>
              <a:rPr lang="en-US"/>
              <a:t>Click to add</a:t>
            </a:r>
            <a:br>
              <a:rPr lang="en-US"/>
            </a:br>
            <a:r>
              <a:rPr lang="en-US"/>
              <a:t>presentation title</a:t>
            </a:r>
          </a:p>
        </p:txBody>
      </p:sp>
      <p:pic>
        <p:nvPicPr>
          <p:cNvPr id="4" name="Graphic 3">
            <a:extLst>
              <a:ext uri="{FF2B5EF4-FFF2-40B4-BE49-F238E27FC236}">
                <a16:creationId xmlns:a16="http://schemas.microsoft.com/office/drawing/2014/main" id="{46BE3430-6BAC-4F1E-03E0-39D1B7DE2C0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6061" y="578755"/>
            <a:ext cx="1786364" cy="463576"/>
          </a:xfrm>
          <a:prstGeom prst="rect">
            <a:avLst/>
          </a:prstGeom>
        </p:spPr>
      </p:pic>
    </p:spTree>
    <p:extLst>
      <p:ext uri="{BB962C8B-B14F-4D97-AF65-F5344CB8AC3E}">
        <p14:creationId xmlns:p14="http://schemas.microsoft.com/office/powerpoint/2010/main" val="34213785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urple">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199" y="1694048"/>
            <a:ext cx="11274552" cy="4313052"/>
          </a:xfrm>
        </p:spPr>
        <p:txBody>
          <a:bodyPr vert="horz" lIns="0" tIns="0" rIns="0" bIns="0" rtlCol="0">
            <a:noAutofit/>
          </a:bodyPr>
          <a:lstStyle>
            <a:lvl1pPr>
              <a:buClr>
                <a:schemeClr val="bg1"/>
              </a:buClr>
              <a:defRPr lang="en-US" dirty="0">
                <a:solidFill>
                  <a:schemeClr val="bg1"/>
                </a:solidFill>
              </a:defRPr>
            </a:lvl1pPr>
            <a:lvl2pPr>
              <a:buClr>
                <a:schemeClr val="bg1"/>
              </a:buClr>
              <a:defRPr lang="en-US" b="0" i="0" dirty="0">
                <a:solidFill>
                  <a:schemeClr val="bg1"/>
                </a:solidFill>
                <a:latin typeface="Elevance Sans" pitchFamily="2" charset="77"/>
              </a:defRPr>
            </a:lvl2pPr>
            <a:lvl3pPr>
              <a:buClr>
                <a:schemeClr val="bg1"/>
              </a:buClr>
              <a:defRPr lang="en-US" b="0" i="0" dirty="0">
                <a:solidFill>
                  <a:schemeClr val="bg1"/>
                </a:solidFill>
                <a:latin typeface="Elevance Sans" pitchFamily="2" charset="77"/>
              </a:defRPr>
            </a:lvl3pPr>
            <a:lvl4pPr>
              <a:buClr>
                <a:schemeClr val="bg1"/>
              </a:buClr>
              <a:defRPr lang="en-US" b="0" i="0" dirty="0">
                <a:solidFill>
                  <a:schemeClr val="bg1"/>
                </a:solidFill>
                <a:latin typeface="Elevance Sans" pitchFamily="2" charset="77"/>
              </a:defRPr>
            </a:lvl4pPr>
            <a:lvl5pPr>
              <a:buClr>
                <a:schemeClr val="bg1"/>
              </a:buClr>
              <a:defRPr lang="en-US" b="0" i="0" dirty="0">
                <a:solidFill>
                  <a:schemeClr val="bg1"/>
                </a:solidFill>
                <a:latin typeface="Elevance Sans" pitchFamily="2" charset="77"/>
              </a:defRPr>
            </a:lvl5pPr>
            <a:lvl6pPr>
              <a:buClr>
                <a:schemeClr val="bg1"/>
              </a:buClr>
              <a:defRPr b="0" i="0">
                <a:solidFill>
                  <a:schemeClr val="bg1"/>
                </a:solidFill>
                <a:latin typeface="Elevance Sans" pitchFamily="2"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bg1"/>
                </a:solidFill>
                <a:latin typeface="Elevance Sans" pitchFamily="2" charset="77"/>
              </a:rPr>
              <a:pPr algn="r"/>
              <a:t>‹#›</a:t>
            </a:fld>
            <a:endParaRPr lang="en-US" sz="900" b="0" i="0">
              <a:solidFill>
                <a:schemeClr val="bg1"/>
              </a:solidFill>
              <a:latin typeface="Elevance Sans" pitchFamily="2" charset="77"/>
            </a:endParaRPr>
          </a:p>
        </p:txBody>
      </p:sp>
      <p:pic>
        <p:nvPicPr>
          <p:cNvPr id="8" name="Graphic 7">
            <a:extLst>
              <a:ext uri="{FF2B5EF4-FFF2-40B4-BE49-F238E27FC236}">
                <a16:creationId xmlns:a16="http://schemas.microsoft.com/office/drawing/2014/main" id="{41129BB6-0921-694D-A4A8-DD9B3AD0260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9" name="Text Placeholder 3">
            <a:extLst>
              <a:ext uri="{FF2B5EF4-FFF2-40B4-BE49-F238E27FC236}">
                <a16:creationId xmlns:a16="http://schemas.microsoft.com/office/drawing/2014/main" id="{D1DA31F3-BA6F-D5D4-B1BD-B2DDB0FD2D40}"/>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solidFill>
                  <a:schemeClr val="bg1"/>
                </a:solidFill>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14383178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7345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6FE5EBD5-3136-174B-831A-04B8DF69E5D6}"/>
              </a:ext>
            </a:extLst>
          </p:cNvPr>
          <p:cNvSpPr>
            <a:spLocks noGrp="1"/>
          </p:cNvSpPr>
          <p:nvPr>
            <p:ph sz="quarter" idx="11" hasCustomPrompt="1"/>
          </p:nvPr>
        </p:nvSpPr>
        <p:spPr>
          <a:xfrm>
            <a:off x="457199" y="1691640"/>
            <a:ext cx="5529263" cy="4315460"/>
          </a:xfrm>
        </p:spPr>
        <p:txBody>
          <a:bodyPr vert="horz" lIns="0" tIns="0" rIns="0" bIns="0" rtlCol="0">
            <a:noAutofit/>
          </a:bodyPr>
          <a:lstStyle>
            <a:lvl1pPr>
              <a:defRPr lang="en-US" dirty="0"/>
            </a:lvl1pPr>
            <a:lvl2pPr>
              <a:defRPr lang="en-US" b="0" i="0" dirty="0">
                <a:latin typeface="Elevance Sans" pitchFamily="2" charset="77"/>
              </a:defRPr>
            </a:lvl2pPr>
            <a:lvl3pPr>
              <a:defRPr lang="en-US" b="0" i="0" dirty="0">
                <a:latin typeface="Elevance Sans" pitchFamily="2" charset="77"/>
              </a:defRPr>
            </a:lvl3pPr>
            <a:lvl4pPr>
              <a:defRPr lang="en-US" b="0" i="0" dirty="0">
                <a:latin typeface="Elevance Sans" pitchFamily="2" charset="77"/>
              </a:defRPr>
            </a:lvl4pPr>
            <a:lvl5pPr>
              <a:defRPr lang="en-US" b="0" i="0" dirty="0">
                <a:latin typeface="Elevance Sans" pitchFamily="2" charset="77"/>
              </a:defRPr>
            </a:lvl5pPr>
            <a:lvl6pPr>
              <a:defRPr b="0" i="0">
                <a:latin typeface="Elevance Sans" pitchFamily="2"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9" name="Content Placeholder 5">
            <a:extLst>
              <a:ext uri="{FF2B5EF4-FFF2-40B4-BE49-F238E27FC236}">
                <a16:creationId xmlns:a16="http://schemas.microsoft.com/office/drawing/2014/main" id="{A1E52CE3-22DF-5A41-9EAD-D5575B3917AE}"/>
              </a:ext>
            </a:extLst>
          </p:cNvPr>
          <p:cNvSpPr>
            <a:spLocks noGrp="1"/>
          </p:cNvSpPr>
          <p:nvPr>
            <p:ph sz="quarter" idx="12" hasCustomPrompt="1"/>
          </p:nvPr>
        </p:nvSpPr>
        <p:spPr>
          <a:xfrm>
            <a:off x="6215063" y="1691640"/>
            <a:ext cx="5529263" cy="4315460"/>
          </a:xfrm>
        </p:spPr>
        <p:txBody>
          <a:bodyPr vert="horz" lIns="0" tIns="0" rIns="0" bIns="0" rtlCol="0">
            <a:noAutofit/>
          </a:bodyPr>
          <a:lstStyle>
            <a:lvl1pPr>
              <a:defRPr lang="en-US" dirty="0"/>
            </a:lvl1pPr>
            <a:lvl2pPr>
              <a:defRPr lang="en-US" b="0" i="0" dirty="0">
                <a:latin typeface="Elevance Sans" pitchFamily="2" charset="77"/>
              </a:defRPr>
            </a:lvl2pPr>
            <a:lvl3pPr>
              <a:defRPr lang="en-US" b="0" i="0" dirty="0">
                <a:latin typeface="Elevance Sans" pitchFamily="2" charset="77"/>
              </a:defRPr>
            </a:lvl3pPr>
            <a:lvl4pPr>
              <a:defRPr lang="en-US" b="0" i="0" dirty="0">
                <a:latin typeface="Elevance Sans" pitchFamily="2" charset="77"/>
              </a:defRPr>
            </a:lvl4pPr>
            <a:lvl5pPr>
              <a:defRPr lang="en-US" b="0" i="0" dirty="0">
                <a:latin typeface="Elevance Sans" pitchFamily="2" charset="77"/>
              </a:defRPr>
            </a:lvl5pPr>
            <a:lvl6pPr>
              <a:defRPr b="0" i="0">
                <a:latin typeface="Elevance Sans" pitchFamily="2"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7" name="Text Placeholder 3">
            <a:extLst>
              <a:ext uri="{FF2B5EF4-FFF2-40B4-BE49-F238E27FC236}">
                <a16:creationId xmlns:a16="http://schemas.microsoft.com/office/drawing/2014/main" id="{E8D6001F-20E3-BCD0-83D6-DA5BCD046B35}"/>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204751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8206909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a:xfrm>
            <a:off x="457200" y="384048"/>
            <a:ext cx="11274552" cy="822960"/>
          </a:xfrm>
        </p:spPr>
        <p:txBody>
          <a:bodyPr/>
          <a:lstStyle/>
          <a:p>
            <a:r>
              <a:rPr lang="en-US"/>
              <a:t>Click to edit master title style</a:t>
            </a:r>
          </a:p>
        </p:txBody>
      </p:sp>
      <p:sp>
        <p:nvSpPr>
          <p:cNvPr id="10" name="Text Placeholder 3">
            <a:extLst>
              <a:ext uri="{FF2B5EF4-FFF2-40B4-BE49-F238E27FC236}">
                <a16:creationId xmlns:a16="http://schemas.microsoft.com/office/drawing/2014/main" id="{01D2708C-3271-2FCA-8488-B4E32633A750}"/>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2" name="Content Placeholder 5">
            <a:extLst>
              <a:ext uri="{FF2B5EF4-FFF2-40B4-BE49-F238E27FC236}">
                <a16:creationId xmlns:a16="http://schemas.microsoft.com/office/drawing/2014/main" id="{98245B66-1B28-18AA-69E6-34BD6F46C0BE}"/>
              </a:ext>
            </a:extLst>
          </p:cNvPr>
          <p:cNvSpPr>
            <a:spLocks noGrp="1"/>
          </p:cNvSpPr>
          <p:nvPr>
            <p:ph sz="quarter" idx="11" hasCustomPrompt="1"/>
          </p:nvPr>
        </p:nvSpPr>
        <p:spPr>
          <a:xfrm>
            <a:off x="457200" y="2819236"/>
            <a:ext cx="3609976" cy="3032672"/>
          </a:xfrm>
        </p:spPr>
        <p:txBody>
          <a:bodyPr vert="horz" lIns="0" tIns="0" rIns="0" bIns="0" rtlCol="0">
            <a:noAutofit/>
          </a:bodyPr>
          <a:lstStyle>
            <a:lvl1pPr>
              <a:defRPr lang="en-US" dirty="0"/>
            </a:lvl1pPr>
            <a:lvl2pPr>
              <a:defRPr lang="en-US" b="0" i="0" dirty="0">
                <a:latin typeface="Elevance Sans" pitchFamily="2" charset="77"/>
              </a:defRPr>
            </a:lvl2pPr>
            <a:lvl3pPr>
              <a:defRPr lang="en-US" b="0" i="0" dirty="0">
                <a:latin typeface="Elevance Sans" pitchFamily="2" charset="77"/>
              </a:defRPr>
            </a:lvl3pPr>
            <a:lvl4pPr>
              <a:defRPr lang="en-US" b="0" i="0" dirty="0">
                <a:latin typeface="Elevance Sans" pitchFamily="2" charset="77"/>
              </a:defRPr>
            </a:lvl4pPr>
            <a:lvl5pPr>
              <a:defRPr lang="en-US" b="0" i="0" dirty="0">
                <a:latin typeface="Elevance Sans" pitchFamily="2" charset="77"/>
              </a:defRPr>
            </a:lvl5pPr>
            <a:lvl6pPr>
              <a:defRPr b="0" i="0">
                <a:latin typeface="Elevance Sans" pitchFamily="2"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Content Placeholder 5">
            <a:extLst>
              <a:ext uri="{FF2B5EF4-FFF2-40B4-BE49-F238E27FC236}">
                <a16:creationId xmlns:a16="http://schemas.microsoft.com/office/drawing/2014/main" id="{5A7F8315-1C9F-53AD-C8F8-38B56B900CE2}"/>
              </a:ext>
            </a:extLst>
          </p:cNvPr>
          <p:cNvSpPr>
            <a:spLocks noGrp="1"/>
          </p:cNvSpPr>
          <p:nvPr>
            <p:ph sz="quarter" idx="13" hasCustomPrompt="1"/>
          </p:nvPr>
        </p:nvSpPr>
        <p:spPr>
          <a:xfrm>
            <a:off x="4295273" y="2819236"/>
            <a:ext cx="3609976" cy="3032672"/>
          </a:xfrm>
        </p:spPr>
        <p:txBody>
          <a:bodyPr vert="horz" lIns="0" tIns="0" rIns="0" bIns="0" rtlCol="0">
            <a:noAutofit/>
          </a:bodyPr>
          <a:lstStyle>
            <a:lvl1pPr>
              <a:defRPr lang="en-US" dirty="0"/>
            </a:lvl1pPr>
            <a:lvl2pPr>
              <a:defRPr lang="en-US" b="0" i="0" dirty="0">
                <a:latin typeface="Elevance Sans" pitchFamily="2" charset="77"/>
              </a:defRPr>
            </a:lvl2pPr>
            <a:lvl3pPr>
              <a:defRPr lang="en-US" b="0" i="0" dirty="0">
                <a:latin typeface="Elevance Sans" pitchFamily="2" charset="77"/>
              </a:defRPr>
            </a:lvl3pPr>
            <a:lvl4pPr>
              <a:defRPr lang="en-US" b="0" i="0" dirty="0">
                <a:latin typeface="Elevance Sans" pitchFamily="2" charset="77"/>
              </a:defRPr>
            </a:lvl4pPr>
            <a:lvl5pPr>
              <a:defRPr lang="en-US" b="0" i="0" dirty="0">
                <a:latin typeface="Elevance Sans" pitchFamily="2" charset="77"/>
              </a:defRPr>
            </a:lvl5pPr>
            <a:lvl6pPr>
              <a:defRPr b="0" i="0">
                <a:latin typeface="Elevance Sans" pitchFamily="2"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 name="Content Placeholder 5">
            <a:extLst>
              <a:ext uri="{FF2B5EF4-FFF2-40B4-BE49-F238E27FC236}">
                <a16:creationId xmlns:a16="http://schemas.microsoft.com/office/drawing/2014/main" id="{80DB9B63-F7FD-9B20-7D67-464722501F85}"/>
              </a:ext>
            </a:extLst>
          </p:cNvPr>
          <p:cNvSpPr>
            <a:spLocks noGrp="1"/>
          </p:cNvSpPr>
          <p:nvPr>
            <p:ph sz="quarter" idx="14" hasCustomPrompt="1"/>
          </p:nvPr>
        </p:nvSpPr>
        <p:spPr>
          <a:xfrm>
            <a:off x="8133346" y="2819236"/>
            <a:ext cx="3598406" cy="3032672"/>
          </a:xfrm>
        </p:spPr>
        <p:txBody>
          <a:bodyPr vert="horz" lIns="0" tIns="0" rIns="0" bIns="0" rtlCol="0">
            <a:noAutofit/>
          </a:bodyPr>
          <a:lstStyle>
            <a:lvl1pPr>
              <a:defRPr lang="en-US" dirty="0"/>
            </a:lvl1pPr>
            <a:lvl2pPr>
              <a:defRPr lang="en-US" b="0" i="0" dirty="0">
                <a:latin typeface="Elevance Sans" pitchFamily="2" charset="77"/>
              </a:defRPr>
            </a:lvl2pPr>
            <a:lvl3pPr>
              <a:defRPr lang="en-US" b="0" i="0" dirty="0">
                <a:latin typeface="Elevance Sans" pitchFamily="2" charset="77"/>
              </a:defRPr>
            </a:lvl3pPr>
            <a:lvl4pPr>
              <a:defRPr lang="en-US" b="0" i="0" dirty="0">
                <a:latin typeface="Elevance Sans" pitchFamily="2" charset="77"/>
              </a:defRPr>
            </a:lvl4pPr>
            <a:lvl5pPr>
              <a:defRPr lang="en-US" b="0" i="0" dirty="0">
                <a:latin typeface="Elevance Sans" pitchFamily="2" charset="77"/>
              </a:defRPr>
            </a:lvl5pPr>
            <a:lvl6pPr>
              <a:defRPr b="0" i="0">
                <a:latin typeface="Elevance Sans" pitchFamily="2"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Picture Placeholder 2">
            <a:extLst>
              <a:ext uri="{FF2B5EF4-FFF2-40B4-BE49-F238E27FC236}">
                <a16:creationId xmlns:a16="http://schemas.microsoft.com/office/drawing/2014/main" id="{577C2523-960C-4A32-FFAE-78F1131617BB}"/>
              </a:ext>
            </a:extLst>
          </p:cNvPr>
          <p:cNvSpPr>
            <a:spLocks noGrp="1"/>
          </p:cNvSpPr>
          <p:nvPr>
            <p:ph type="pic" sz="quarter" idx="15" hasCustomPrompt="1"/>
          </p:nvPr>
        </p:nvSpPr>
        <p:spPr>
          <a:xfrm>
            <a:off x="488730" y="1744663"/>
            <a:ext cx="914400" cy="914400"/>
          </a:xfrm>
        </p:spPr>
        <p:txBody>
          <a:bodyPr/>
          <a:lstStyle/>
          <a:p>
            <a:r>
              <a:rPr lang="en-US"/>
              <a:t>icon</a:t>
            </a:r>
          </a:p>
        </p:txBody>
      </p:sp>
      <p:sp>
        <p:nvSpPr>
          <p:cNvPr id="7" name="Picture Placeholder 2">
            <a:extLst>
              <a:ext uri="{FF2B5EF4-FFF2-40B4-BE49-F238E27FC236}">
                <a16:creationId xmlns:a16="http://schemas.microsoft.com/office/drawing/2014/main" id="{5A38D4E5-09B8-07BF-7CDE-383FE0846D96}"/>
              </a:ext>
            </a:extLst>
          </p:cNvPr>
          <p:cNvSpPr>
            <a:spLocks noGrp="1"/>
          </p:cNvSpPr>
          <p:nvPr>
            <p:ph type="pic" sz="quarter" idx="16" hasCustomPrompt="1"/>
          </p:nvPr>
        </p:nvSpPr>
        <p:spPr>
          <a:xfrm>
            <a:off x="4326803" y="1744663"/>
            <a:ext cx="914400" cy="914400"/>
          </a:xfrm>
        </p:spPr>
        <p:txBody>
          <a:bodyPr/>
          <a:lstStyle/>
          <a:p>
            <a:r>
              <a:rPr lang="en-US"/>
              <a:t>icon</a:t>
            </a:r>
          </a:p>
        </p:txBody>
      </p:sp>
      <p:sp>
        <p:nvSpPr>
          <p:cNvPr id="11" name="Picture Placeholder 2">
            <a:extLst>
              <a:ext uri="{FF2B5EF4-FFF2-40B4-BE49-F238E27FC236}">
                <a16:creationId xmlns:a16="http://schemas.microsoft.com/office/drawing/2014/main" id="{0FD13936-FBD2-24B2-49D9-0A7CB9E52C50}"/>
              </a:ext>
            </a:extLst>
          </p:cNvPr>
          <p:cNvSpPr>
            <a:spLocks noGrp="1"/>
          </p:cNvSpPr>
          <p:nvPr>
            <p:ph type="pic" sz="quarter" idx="17" hasCustomPrompt="1"/>
          </p:nvPr>
        </p:nvSpPr>
        <p:spPr>
          <a:xfrm>
            <a:off x="8164876" y="1744663"/>
            <a:ext cx="914400" cy="914400"/>
          </a:xfrm>
        </p:spPr>
        <p:txBody>
          <a:bodyPr/>
          <a:lstStyle/>
          <a:p>
            <a:r>
              <a:rPr lang="en-US"/>
              <a:t>icon</a:t>
            </a:r>
          </a:p>
        </p:txBody>
      </p:sp>
    </p:spTree>
    <p:extLst>
      <p:ext uri="{BB962C8B-B14F-4D97-AF65-F5344CB8AC3E}">
        <p14:creationId xmlns:p14="http://schemas.microsoft.com/office/powerpoint/2010/main" val="31073045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a:xfrm>
            <a:off x="457200" y="384048"/>
            <a:ext cx="11274552" cy="822960"/>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AD385E59-9CC5-9871-4EB1-B364647AAFA5}"/>
              </a:ext>
            </a:extLst>
          </p:cNvPr>
          <p:cNvSpPr>
            <a:spLocks noGrp="1"/>
          </p:cNvSpPr>
          <p:nvPr>
            <p:ph sz="quarter" idx="21"/>
          </p:nvPr>
        </p:nvSpPr>
        <p:spPr>
          <a:xfrm>
            <a:off x="475443" y="1691641"/>
            <a:ext cx="2640820" cy="4315460"/>
          </a:xfrm>
        </p:spPr>
        <p:txBody>
          <a:bodyPr/>
          <a:lstStyle>
            <a:lvl1pPr>
              <a:spcBef>
                <a:spcPts val="1600"/>
              </a:spcBef>
              <a:defRPr sz="1600"/>
            </a:lvl1pPr>
            <a:lvl2pPr>
              <a:spcBef>
                <a:spcPts val="1600"/>
              </a:spcBef>
              <a:defRPr sz="1600" b="0" i="0">
                <a:latin typeface="Elevance Sans" pitchFamily="2" charset="77"/>
              </a:defRPr>
            </a:lvl2pPr>
            <a:lvl3pPr>
              <a:spcBef>
                <a:spcPts val="1600"/>
              </a:spcBef>
              <a:defRPr sz="1600" b="0" i="0">
                <a:latin typeface="Elevance Sans" pitchFamily="2" charset="77"/>
              </a:defRPr>
            </a:lvl3pPr>
            <a:lvl4pPr>
              <a:spcBef>
                <a:spcPts val="1600"/>
              </a:spcBef>
              <a:defRPr sz="1600" b="0" i="0">
                <a:latin typeface="Elevance Sans" pitchFamily="2" charset="77"/>
              </a:defRPr>
            </a:lvl4pPr>
            <a:lvl5pPr>
              <a:spcBef>
                <a:spcPts val="1600"/>
              </a:spcBef>
              <a:defRPr sz="1600" b="0" i="0">
                <a:latin typeface="Elevance Sans" pitchFamily="2" charset="77"/>
              </a:defRPr>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89E427DA-4D2F-C091-BBC3-51007DCBA33D}"/>
              </a:ext>
            </a:extLst>
          </p:cNvPr>
          <p:cNvSpPr>
            <a:spLocks noGrp="1"/>
          </p:cNvSpPr>
          <p:nvPr>
            <p:ph sz="quarter" idx="22"/>
          </p:nvPr>
        </p:nvSpPr>
        <p:spPr>
          <a:xfrm>
            <a:off x="3348289" y="1691641"/>
            <a:ext cx="2640820" cy="4315460"/>
          </a:xfrm>
        </p:spPr>
        <p:txBody>
          <a:bodyPr/>
          <a:lstStyle>
            <a:lvl1pPr>
              <a:spcBef>
                <a:spcPts val="1600"/>
              </a:spcBef>
              <a:defRPr sz="1600"/>
            </a:lvl1pPr>
            <a:lvl2pPr>
              <a:spcBef>
                <a:spcPts val="1600"/>
              </a:spcBef>
              <a:defRPr sz="1600" b="0" i="0">
                <a:latin typeface="Elevance Sans" pitchFamily="2" charset="77"/>
              </a:defRPr>
            </a:lvl2pPr>
            <a:lvl3pPr>
              <a:spcBef>
                <a:spcPts val="1600"/>
              </a:spcBef>
              <a:defRPr sz="1600" b="0" i="0">
                <a:latin typeface="Elevance Sans" pitchFamily="2" charset="77"/>
              </a:defRPr>
            </a:lvl3pPr>
            <a:lvl4pPr>
              <a:spcBef>
                <a:spcPts val="1600"/>
              </a:spcBef>
              <a:defRPr sz="1600" b="0" i="0">
                <a:latin typeface="Elevance Sans" pitchFamily="2" charset="77"/>
              </a:defRPr>
            </a:lvl4pPr>
            <a:lvl5pPr>
              <a:spcBef>
                <a:spcPts val="1600"/>
              </a:spcBef>
              <a:defRPr sz="1600" b="0" i="0">
                <a:latin typeface="Elevance Sans" pitchFamily="2" charset="77"/>
              </a:defRPr>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A93994B7-A0C7-265E-120E-98F5D0653416}"/>
              </a:ext>
            </a:extLst>
          </p:cNvPr>
          <p:cNvSpPr>
            <a:spLocks noGrp="1"/>
          </p:cNvSpPr>
          <p:nvPr>
            <p:ph sz="quarter" idx="23"/>
          </p:nvPr>
        </p:nvSpPr>
        <p:spPr>
          <a:xfrm>
            <a:off x="6221135" y="1691641"/>
            <a:ext cx="2640820" cy="4315460"/>
          </a:xfrm>
        </p:spPr>
        <p:txBody>
          <a:bodyPr/>
          <a:lstStyle>
            <a:lvl1pPr>
              <a:spcBef>
                <a:spcPts val="1600"/>
              </a:spcBef>
              <a:defRPr sz="1600"/>
            </a:lvl1pPr>
            <a:lvl2pPr>
              <a:spcBef>
                <a:spcPts val="1600"/>
              </a:spcBef>
              <a:defRPr sz="1600" b="0" i="0">
                <a:latin typeface="Elevance Sans" pitchFamily="2" charset="77"/>
              </a:defRPr>
            </a:lvl2pPr>
            <a:lvl3pPr>
              <a:spcBef>
                <a:spcPts val="1600"/>
              </a:spcBef>
              <a:defRPr sz="1600" b="0" i="0">
                <a:latin typeface="Elevance Sans" pitchFamily="2" charset="77"/>
              </a:defRPr>
            </a:lvl3pPr>
            <a:lvl4pPr>
              <a:spcBef>
                <a:spcPts val="1600"/>
              </a:spcBef>
              <a:defRPr sz="1600" b="0" i="0">
                <a:latin typeface="Elevance Sans" pitchFamily="2" charset="77"/>
              </a:defRPr>
            </a:lvl4pPr>
            <a:lvl5pPr>
              <a:spcBef>
                <a:spcPts val="1600"/>
              </a:spcBef>
              <a:defRPr sz="1600" b="0" i="0">
                <a:latin typeface="Elevance Sans" pitchFamily="2" charset="77"/>
              </a:defRPr>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FD44DF59-6C6E-B941-C523-A61E7A097C9C}"/>
              </a:ext>
            </a:extLst>
          </p:cNvPr>
          <p:cNvSpPr>
            <a:spLocks noGrp="1"/>
          </p:cNvSpPr>
          <p:nvPr>
            <p:ph sz="quarter" idx="24"/>
          </p:nvPr>
        </p:nvSpPr>
        <p:spPr>
          <a:xfrm>
            <a:off x="9093980" y="1691641"/>
            <a:ext cx="2640820" cy="4315460"/>
          </a:xfrm>
        </p:spPr>
        <p:txBody>
          <a:bodyPr/>
          <a:lstStyle>
            <a:lvl1pPr>
              <a:spcBef>
                <a:spcPts val="1600"/>
              </a:spcBef>
              <a:defRPr sz="1600"/>
            </a:lvl1pPr>
            <a:lvl2pPr>
              <a:spcBef>
                <a:spcPts val="1600"/>
              </a:spcBef>
              <a:defRPr sz="1600" b="0" i="0">
                <a:latin typeface="Elevance Sans" pitchFamily="2" charset="77"/>
              </a:defRPr>
            </a:lvl2pPr>
            <a:lvl3pPr>
              <a:spcBef>
                <a:spcPts val="1600"/>
              </a:spcBef>
              <a:defRPr sz="1600" b="0" i="0">
                <a:latin typeface="Elevance Sans" pitchFamily="2" charset="77"/>
              </a:defRPr>
            </a:lvl3pPr>
            <a:lvl4pPr>
              <a:spcBef>
                <a:spcPts val="1600"/>
              </a:spcBef>
              <a:defRPr sz="1600" b="0" i="0">
                <a:latin typeface="Elevance Sans" pitchFamily="2" charset="77"/>
              </a:defRPr>
            </a:lvl4pPr>
            <a:lvl5pPr>
              <a:spcBef>
                <a:spcPts val="1600"/>
              </a:spcBef>
              <a:defRPr sz="1600" b="0" i="0">
                <a:latin typeface="Elevance Sans" pitchFamily="2" charset="77"/>
              </a:defRPr>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C1E44A2A-FBF2-963D-9B1C-7C7E900CC849}"/>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31016313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CAA6C2B6-0EBC-1BB7-9224-5AA69323802F}"/>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4355597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Up 1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a:t>Click to edit master title style</a:t>
            </a:r>
          </a:p>
        </p:txBody>
      </p:sp>
      <p:cxnSp>
        <p:nvCxnSpPr>
          <p:cNvPr id="13" name="Straight Connector 12">
            <a:extLst>
              <a:ext uri="{FF2B5EF4-FFF2-40B4-BE49-F238E27FC236}">
                <a16:creationId xmlns:a16="http://schemas.microsoft.com/office/drawing/2014/main" id="{2C6E06F0-2580-5A49-98CA-34E91A0D2C89}"/>
              </a:ext>
            </a:extLst>
          </p:cNvPr>
          <p:cNvCxnSpPr>
            <a:cxnSpLocks/>
          </p:cNvCxnSpPr>
          <p:nvPr userDrawn="1"/>
        </p:nvCxnSpPr>
        <p:spPr>
          <a:xfrm>
            <a:off x="6099533" y="1677410"/>
            <a:ext cx="0" cy="18711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B9996DA-4693-AF44-A11B-9EE0B94D1690}"/>
              </a:ext>
            </a:extLst>
          </p:cNvPr>
          <p:cNvCxnSpPr>
            <a:cxnSpLocks/>
          </p:cNvCxnSpPr>
          <p:nvPr userDrawn="1"/>
        </p:nvCxnSpPr>
        <p:spPr>
          <a:xfrm>
            <a:off x="6099533" y="4014884"/>
            <a:ext cx="0" cy="18711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F416A43-9211-2E49-BAB8-1BD8D9816424}"/>
              </a:ext>
            </a:extLst>
          </p:cNvPr>
          <p:cNvCxnSpPr/>
          <p:nvPr userDrawn="1"/>
        </p:nvCxnSpPr>
        <p:spPr>
          <a:xfrm flipH="1">
            <a:off x="457200" y="3781741"/>
            <a:ext cx="54591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85D7B38-0887-2F46-8E24-5542606312A7}"/>
              </a:ext>
            </a:extLst>
          </p:cNvPr>
          <p:cNvCxnSpPr/>
          <p:nvPr userDrawn="1"/>
        </p:nvCxnSpPr>
        <p:spPr>
          <a:xfrm flipH="1">
            <a:off x="6282717" y="3781741"/>
            <a:ext cx="54591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4849FDE5-105E-BE4B-A853-CB71E6171367}"/>
              </a:ext>
            </a:extLst>
          </p:cNvPr>
          <p:cNvSpPr>
            <a:spLocks noGrp="1"/>
          </p:cNvSpPr>
          <p:nvPr>
            <p:ph type="body" sz="quarter" idx="10" hasCustomPrompt="1"/>
          </p:nvPr>
        </p:nvSpPr>
        <p:spPr>
          <a:xfrm>
            <a:off x="902497" y="2223070"/>
            <a:ext cx="1329714" cy="983745"/>
          </a:xfrm>
        </p:spPr>
        <p:txBody>
          <a:bodyPr/>
          <a:lstStyle>
            <a:lvl1pPr>
              <a:defRPr sz="6800" b="0" i="0">
                <a:solidFill>
                  <a:schemeClr val="accent2"/>
                </a:solidFill>
                <a:latin typeface="Elevance Sans Medium" pitchFamily="2" charset="0"/>
              </a:defRPr>
            </a:lvl1pPr>
          </a:lstStyle>
          <a:p>
            <a:pPr lvl="0"/>
            <a:r>
              <a:rPr lang="en-US"/>
              <a:t>XX</a:t>
            </a:r>
          </a:p>
        </p:txBody>
      </p:sp>
      <p:sp>
        <p:nvSpPr>
          <p:cNvPr id="18" name="Text Placeholder 16">
            <a:extLst>
              <a:ext uri="{FF2B5EF4-FFF2-40B4-BE49-F238E27FC236}">
                <a16:creationId xmlns:a16="http://schemas.microsoft.com/office/drawing/2014/main" id="{F206106F-2A33-A745-A741-D61DB0867B45}"/>
              </a:ext>
            </a:extLst>
          </p:cNvPr>
          <p:cNvSpPr>
            <a:spLocks noGrp="1"/>
          </p:cNvSpPr>
          <p:nvPr>
            <p:ph type="body" sz="quarter" idx="11" hasCustomPrompt="1"/>
          </p:nvPr>
        </p:nvSpPr>
        <p:spPr>
          <a:xfrm>
            <a:off x="6621980" y="2223070"/>
            <a:ext cx="1329714" cy="983745"/>
          </a:xfrm>
        </p:spPr>
        <p:txBody>
          <a:bodyPr/>
          <a:lstStyle>
            <a:lvl1pPr>
              <a:defRPr sz="6800" b="0" i="0">
                <a:solidFill>
                  <a:schemeClr val="accent2"/>
                </a:solidFill>
                <a:latin typeface="Elevance Sans Medium" pitchFamily="2" charset="0"/>
              </a:defRPr>
            </a:lvl1pPr>
          </a:lstStyle>
          <a:p>
            <a:pPr lvl="0"/>
            <a:r>
              <a:rPr lang="en-US"/>
              <a:t>XX</a:t>
            </a:r>
          </a:p>
        </p:txBody>
      </p:sp>
      <p:sp>
        <p:nvSpPr>
          <p:cNvPr id="19" name="Text Placeholder 16">
            <a:extLst>
              <a:ext uri="{FF2B5EF4-FFF2-40B4-BE49-F238E27FC236}">
                <a16:creationId xmlns:a16="http://schemas.microsoft.com/office/drawing/2014/main" id="{A8E7582B-02F1-674F-A5A3-E9BC144DBB50}"/>
              </a:ext>
            </a:extLst>
          </p:cNvPr>
          <p:cNvSpPr>
            <a:spLocks noGrp="1"/>
          </p:cNvSpPr>
          <p:nvPr>
            <p:ph type="body" sz="quarter" idx="12" hasCustomPrompt="1"/>
          </p:nvPr>
        </p:nvSpPr>
        <p:spPr>
          <a:xfrm>
            <a:off x="902497" y="4302882"/>
            <a:ext cx="1329714" cy="983745"/>
          </a:xfrm>
        </p:spPr>
        <p:txBody>
          <a:bodyPr/>
          <a:lstStyle>
            <a:lvl1pPr>
              <a:defRPr sz="6800" b="0" i="0">
                <a:solidFill>
                  <a:schemeClr val="accent2"/>
                </a:solidFill>
                <a:latin typeface="Elevance Sans Medium" pitchFamily="2" charset="0"/>
              </a:defRPr>
            </a:lvl1pPr>
          </a:lstStyle>
          <a:p>
            <a:pPr lvl="0"/>
            <a:r>
              <a:rPr lang="en-US"/>
              <a:t>XX</a:t>
            </a:r>
          </a:p>
        </p:txBody>
      </p:sp>
      <p:sp>
        <p:nvSpPr>
          <p:cNvPr id="20" name="Text Placeholder 16">
            <a:extLst>
              <a:ext uri="{FF2B5EF4-FFF2-40B4-BE49-F238E27FC236}">
                <a16:creationId xmlns:a16="http://schemas.microsoft.com/office/drawing/2014/main" id="{5BDF288F-53B9-154C-9319-69499F536D3F}"/>
              </a:ext>
            </a:extLst>
          </p:cNvPr>
          <p:cNvSpPr>
            <a:spLocks noGrp="1"/>
          </p:cNvSpPr>
          <p:nvPr>
            <p:ph type="body" sz="quarter" idx="13" hasCustomPrompt="1"/>
          </p:nvPr>
        </p:nvSpPr>
        <p:spPr>
          <a:xfrm>
            <a:off x="6621980" y="4302882"/>
            <a:ext cx="1329714" cy="983745"/>
          </a:xfrm>
        </p:spPr>
        <p:txBody>
          <a:bodyPr/>
          <a:lstStyle>
            <a:lvl1pPr>
              <a:defRPr sz="6800" b="0" i="0">
                <a:solidFill>
                  <a:schemeClr val="accent2"/>
                </a:solidFill>
                <a:latin typeface="Elevance Sans Medium" pitchFamily="2" charset="0"/>
              </a:defRPr>
            </a:lvl1pPr>
          </a:lstStyle>
          <a:p>
            <a:pPr lvl="0"/>
            <a:r>
              <a:rPr lang="en-US"/>
              <a:t>XX</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2431850" y="2307195"/>
            <a:ext cx="3273131" cy="833490"/>
          </a:xfrm>
        </p:spPr>
        <p:txBody>
          <a:bodyPr/>
          <a:lstStyle>
            <a:lvl1pPr>
              <a:spcBef>
                <a:spcPts val="0"/>
              </a:spcBef>
              <a:defRPr sz="1400"/>
            </a:lvl1pPr>
            <a:lvl2pPr marL="12700" indent="0">
              <a:spcBef>
                <a:spcPts val="0"/>
              </a:spcBef>
              <a:tabLst/>
              <a:defRPr sz="1400" b="0" i="0">
                <a:latin typeface="Elevance Sans" pitchFamily="2" charset="77"/>
              </a:defRPr>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8170043" y="2307195"/>
            <a:ext cx="3273131" cy="833490"/>
          </a:xfrm>
        </p:spPr>
        <p:txBody>
          <a:bodyPr/>
          <a:lstStyle>
            <a:lvl1pPr>
              <a:spcBef>
                <a:spcPts val="0"/>
              </a:spcBef>
              <a:defRPr sz="1400"/>
            </a:lvl1pPr>
            <a:lvl2pPr>
              <a:spcBef>
                <a:spcPts val="0"/>
              </a:spcBef>
              <a:defRPr sz="1400" b="0" i="0">
                <a:latin typeface="Elevance Sans" pitchFamily="2" charset="77"/>
              </a:defRPr>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2431850" y="4413901"/>
            <a:ext cx="3273131" cy="833490"/>
          </a:xfrm>
        </p:spPr>
        <p:txBody>
          <a:bodyPr/>
          <a:lstStyle>
            <a:lvl1pPr>
              <a:spcBef>
                <a:spcPts val="0"/>
              </a:spcBef>
              <a:defRPr sz="1400"/>
            </a:lvl1pPr>
            <a:lvl2pPr>
              <a:spcBef>
                <a:spcPts val="0"/>
              </a:spcBef>
              <a:defRPr sz="1400" b="0" i="0">
                <a:latin typeface="Elevance Sans" pitchFamily="2" charset="77"/>
              </a:defRPr>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8170043" y="4413901"/>
            <a:ext cx="3273131" cy="833490"/>
          </a:xfrm>
        </p:spPr>
        <p:txBody>
          <a:bodyPr/>
          <a:lstStyle>
            <a:lvl1pPr>
              <a:spcBef>
                <a:spcPts val="0"/>
              </a:spcBef>
              <a:defRPr sz="1400"/>
            </a:lvl1pPr>
            <a:lvl2pPr>
              <a:spcBef>
                <a:spcPts val="0"/>
              </a:spcBef>
              <a:defRPr sz="1400" b="0" i="0">
                <a:latin typeface="Elevance Sans" pitchFamily="2" charset="77"/>
              </a:defRPr>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1" name="Text Placeholder 3">
            <a:extLst>
              <a:ext uri="{FF2B5EF4-FFF2-40B4-BE49-F238E27FC236}">
                <a16:creationId xmlns:a16="http://schemas.microsoft.com/office/drawing/2014/main" id="{3503FAA8-E853-BE6B-88EB-6E22E2A16822}"/>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33879233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Up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F675797-F0AF-7D47-B826-B1C69AB2E373}"/>
              </a:ext>
            </a:extLst>
          </p:cNvPr>
          <p:cNvSpPr>
            <a:spLocks noGrp="1"/>
          </p:cNvSpPr>
          <p:nvPr>
            <p:ph type="body" sz="quarter" idx="18"/>
          </p:nvPr>
        </p:nvSpPr>
        <p:spPr>
          <a:xfrm>
            <a:off x="45720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77"/>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3" name="Text Placeholder 4">
            <a:extLst>
              <a:ext uri="{FF2B5EF4-FFF2-40B4-BE49-F238E27FC236}">
                <a16:creationId xmlns:a16="http://schemas.microsoft.com/office/drawing/2014/main" id="{7F6EDBC3-168B-CF46-BFC4-E8C95CFB3499}"/>
              </a:ext>
            </a:extLst>
          </p:cNvPr>
          <p:cNvSpPr>
            <a:spLocks noGrp="1"/>
          </p:cNvSpPr>
          <p:nvPr>
            <p:ph type="body" sz="quarter" idx="19"/>
          </p:nvPr>
        </p:nvSpPr>
        <p:spPr>
          <a:xfrm>
            <a:off x="612648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77"/>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4" name="Text Placeholder 4">
            <a:extLst>
              <a:ext uri="{FF2B5EF4-FFF2-40B4-BE49-F238E27FC236}">
                <a16:creationId xmlns:a16="http://schemas.microsoft.com/office/drawing/2014/main" id="{0CE2A664-C16E-5147-9B30-8AD5A22398E3}"/>
              </a:ext>
            </a:extLst>
          </p:cNvPr>
          <p:cNvSpPr>
            <a:spLocks noGrp="1"/>
          </p:cNvSpPr>
          <p:nvPr>
            <p:ph type="body" sz="quarter" idx="20"/>
          </p:nvPr>
        </p:nvSpPr>
        <p:spPr>
          <a:xfrm>
            <a:off x="45720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77"/>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5" name="Text Placeholder 4">
            <a:extLst>
              <a:ext uri="{FF2B5EF4-FFF2-40B4-BE49-F238E27FC236}">
                <a16:creationId xmlns:a16="http://schemas.microsoft.com/office/drawing/2014/main" id="{61CE08F7-4DC1-5549-B0ED-CCB370F612C8}"/>
              </a:ext>
            </a:extLst>
          </p:cNvPr>
          <p:cNvSpPr>
            <a:spLocks noGrp="1"/>
          </p:cNvSpPr>
          <p:nvPr>
            <p:ph type="body" sz="quarter" idx="21"/>
          </p:nvPr>
        </p:nvSpPr>
        <p:spPr>
          <a:xfrm>
            <a:off x="612648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77"/>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6690868" y="2311643"/>
            <a:ext cx="4183320" cy="1049059"/>
          </a:xfrm>
        </p:spPr>
        <p:txBody>
          <a:bodyPr/>
          <a:lstStyle>
            <a:lvl1pPr>
              <a:spcBef>
                <a:spcPts val="0"/>
              </a:spcBef>
              <a:defRPr sz="1600"/>
            </a:lvl1pPr>
            <a:lvl2pPr>
              <a:spcBef>
                <a:spcPts val="0"/>
              </a:spcBef>
              <a:defRPr sz="1600" b="0" i="0">
                <a:latin typeface="Elevance Sans" pitchFamily="2" charset="77"/>
              </a:defRPr>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997498" y="2311643"/>
            <a:ext cx="4183320" cy="1049059"/>
          </a:xfrm>
        </p:spPr>
        <p:txBody>
          <a:bodyPr/>
          <a:lstStyle>
            <a:lvl1pPr>
              <a:spcBef>
                <a:spcPts val="0"/>
              </a:spcBef>
              <a:defRPr sz="1600"/>
            </a:lvl1pPr>
            <a:lvl2pPr>
              <a:spcBef>
                <a:spcPts val="0"/>
              </a:spcBef>
              <a:defRPr sz="1600" b="0" i="0">
                <a:latin typeface="Elevance Sans" pitchFamily="2" charset="77"/>
              </a:defRPr>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997498" y="4471056"/>
            <a:ext cx="4183320" cy="1049059"/>
          </a:xfrm>
        </p:spPr>
        <p:txBody>
          <a:bodyPr/>
          <a:lstStyle>
            <a:lvl1pPr>
              <a:spcBef>
                <a:spcPts val="0"/>
              </a:spcBef>
              <a:defRPr sz="1600"/>
            </a:lvl1pPr>
            <a:lvl2pPr>
              <a:spcBef>
                <a:spcPts val="0"/>
              </a:spcBef>
              <a:defRPr sz="1600" b="0" i="0">
                <a:latin typeface="Elevance Sans" pitchFamily="2" charset="77"/>
              </a:defRPr>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6690868" y="4471056"/>
            <a:ext cx="4183320" cy="1049059"/>
          </a:xfrm>
        </p:spPr>
        <p:txBody>
          <a:bodyPr/>
          <a:lstStyle>
            <a:lvl1pPr>
              <a:spcBef>
                <a:spcPts val="0"/>
              </a:spcBef>
              <a:defRPr sz="1600"/>
            </a:lvl1pPr>
            <a:lvl2pPr>
              <a:spcBef>
                <a:spcPts val="0"/>
              </a:spcBef>
              <a:defRPr sz="1600" b="0" i="0">
                <a:latin typeface="Elevance Sans" pitchFamily="2" charset="77"/>
              </a:defRPr>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a:t>Click to edit master title style</a:t>
            </a:r>
          </a:p>
        </p:txBody>
      </p:sp>
      <p:sp>
        <p:nvSpPr>
          <p:cNvPr id="12" name="Text Placeholder 3">
            <a:extLst>
              <a:ext uri="{FF2B5EF4-FFF2-40B4-BE49-F238E27FC236}">
                <a16:creationId xmlns:a16="http://schemas.microsoft.com/office/drawing/2014/main" id="{F8FE7E3D-9922-82D1-1CE1-8470DC537701}"/>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25967934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Up 3">
    <p:spTree>
      <p:nvGrpSpPr>
        <p:cNvPr id="1" name=""/>
        <p:cNvGrpSpPr/>
        <p:nvPr/>
      </p:nvGrpSpPr>
      <p:grpSpPr>
        <a:xfrm>
          <a:off x="0" y="0"/>
          <a:ext cx="0" cy="0"/>
          <a:chOff x="0" y="0"/>
          <a:chExt cx="0" cy="0"/>
        </a:xfrm>
      </p:grpSpPr>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77"/>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77"/>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77"/>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accent1"/>
          </a:solidFill>
        </p:spPr>
        <p:txBody>
          <a:bodyPr/>
          <a:lstStyle>
            <a:lvl1pPr>
              <a:defRPr sz="100" b="0" i="0">
                <a:solidFill>
                  <a:schemeClr val="bg2">
                    <a:alpha val="0"/>
                  </a:schemeClr>
                </a:solidFill>
                <a:latin typeface="Elevance Sans" pitchFamily="2" charset="77"/>
                <a:cs typeface="Elevance Sans" pitchFamily="2" charset="77"/>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a:lstStyle>
            <a:lvl1pPr>
              <a:defRPr sz="1500">
                <a:solidFill>
                  <a:schemeClr val="bg1"/>
                </a:solidFill>
              </a:defRPr>
            </a:lvl1pPr>
          </a:lstStyle>
          <a:p>
            <a:pPr lvl="0"/>
            <a:r>
              <a:rPr lang="en-US"/>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a:lstStyle>
            <a:lvl1pPr>
              <a:defRPr sz="1500">
                <a:solidFill>
                  <a:schemeClr val="accent2"/>
                </a:solidFill>
              </a:defRPr>
            </a:lvl1pPr>
          </a:lstStyle>
          <a:p>
            <a:pPr lvl="0"/>
            <a:r>
              <a:rPr lang="en-US"/>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a:lstStyle>
            <a:lvl1pPr>
              <a:defRPr sz="1500">
                <a:solidFill>
                  <a:schemeClr val="accent2"/>
                </a:solidFill>
              </a:defRPr>
            </a:lvl1pPr>
          </a:lstStyle>
          <a:p>
            <a:pPr lvl="0"/>
            <a:r>
              <a:rPr lang="en-US"/>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a:lstStyle>
            <a:lvl1pPr>
              <a:defRPr sz="1500">
                <a:solidFill>
                  <a:schemeClr val="accent2"/>
                </a:solidFill>
              </a:defRPr>
            </a:lvl1pPr>
          </a:lstStyle>
          <a:p>
            <a:pPr lvl="0"/>
            <a:r>
              <a:rPr lang="en-US"/>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a:t>Click to edit master title styl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0" y="2653748"/>
            <a:ext cx="1395941" cy="561942"/>
          </a:xfrm>
        </p:spPr>
        <p:txBody>
          <a:bodyPr anchor="ctr" anchorCtr="0"/>
          <a:lstStyle>
            <a:lvl1pPr>
              <a:defRPr sz="5500" b="0" i="0">
                <a:solidFill>
                  <a:schemeClr val="bg1"/>
                </a:solidFill>
                <a:latin typeface="Elevance Sans Medium" pitchFamily="2" charset="0"/>
              </a:defRPr>
            </a:lvl1pPr>
          </a:lstStyle>
          <a:p>
            <a:pPr lvl="0"/>
            <a:r>
              <a:rPr lang="en-US"/>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0" y="3513481"/>
            <a:ext cx="1395941" cy="561942"/>
          </a:xfrm>
        </p:spPr>
        <p:txBody>
          <a:bodyPr anchor="ctr" anchorCtr="0"/>
          <a:lstStyle>
            <a:lvl1pPr>
              <a:defRPr sz="5500" b="0" i="0">
                <a:solidFill>
                  <a:schemeClr val="bg1"/>
                </a:solidFill>
                <a:latin typeface="Elevance Sans Medium" pitchFamily="2" charset="0"/>
              </a:defRPr>
            </a:lvl1pPr>
          </a:lstStyle>
          <a:p>
            <a:pPr lvl="0"/>
            <a:r>
              <a:rPr lang="en-US"/>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0" y="4373214"/>
            <a:ext cx="1395941" cy="561942"/>
          </a:xfrm>
        </p:spPr>
        <p:txBody>
          <a:bodyPr anchor="ctr" anchorCtr="0"/>
          <a:lstStyle>
            <a:lvl1pPr>
              <a:defRPr sz="5500" b="0" i="0">
                <a:solidFill>
                  <a:schemeClr val="bg1"/>
                </a:solidFill>
                <a:latin typeface="Elevance Sans Medium" pitchFamily="2" charset="0"/>
              </a:defRPr>
            </a:lvl1pPr>
          </a:lstStyle>
          <a:p>
            <a:pPr lvl="0"/>
            <a:r>
              <a:rPr lang="en-US"/>
              <a:t>XX</a:t>
            </a:r>
          </a:p>
        </p:txBody>
      </p:sp>
      <p:sp>
        <p:nvSpPr>
          <p:cNvPr id="21" name="Text Placeholder 3">
            <a:extLst>
              <a:ext uri="{FF2B5EF4-FFF2-40B4-BE49-F238E27FC236}">
                <a16:creationId xmlns:a16="http://schemas.microsoft.com/office/drawing/2014/main" id="{A53CF610-EC9E-1EE1-5D5D-10FEFB998CDF}"/>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16897693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bg>
      <p:bgPr>
        <a:solidFill>
          <a:srgbClr val="5009B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a:t>Click to edit master title style</a:t>
            </a:r>
          </a:p>
        </p:txBody>
      </p:sp>
      <p:sp>
        <p:nvSpPr>
          <p:cNvPr id="6" name="TextBox 5">
            <a:extLst>
              <a:ext uri="{FF2B5EF4-FFF2-40B4-BE49-F238E27FC236}">
                <a16:creationId xmlns:a16="http://schemas.microsoft.com/office/drawing/2014/main" id="{4E4AA359-29EA-5F4F-BDCD-44D77DDDBA39}"/>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bg1"/>
                </a:solidFill>
                <a:latin typeface="Elevance Sans" pitchFamily="2" charset="77"/>
              </a:rPr>
              <a:pPr algn="r"/>
              <a:t>‹#›</a:t>
            </a:fld>
            <a:endParaRPr lang="en-US" sz="900" b="0" i="0">
              <a:solidFill>
                <a:schemeClr val="bg1"/>
              </a:solidFill>
              <a:latin typeface="Elevance Sans" pitchFamily="2" charset="77"/>
            </a:endParaRPr>
          </a:p>
        </p:txBody>
      </p:sp>
      <p:pic>
        <p:nvPicPr>
          <p:cNvPr id="8" name="Graphic 7">
            <a:extLst>
              <a:ext uri="{FF2B5EF4-FFF2-40B4-BE49-F238E27FC236}">
                <a16:creationId xmlns:a16="http://schemas.microsoft.com/office/drawing/2014/main" id="{732D85FF-C9D8-F24D-9CA2-21283ABF1C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99" y="6181343"/>
            <a:ext cx="365760" cy="365760"/>
          </a:xfrm>
          <a:prstGeom prst="rect">
            <a:avLst/>
          </a:prstGeom>
        </p:spPr>
      </p:pic>
      <p:sp>
        <p:nvSpPr>
          <p:cNvPr id="7" name="Text Placeholder 3">
            <a:extLst>
              <a:ext uri="{FF2B5EF4-FFF2-40B4-BE49-F238E27FC236}">
                <a16:creationId xmlns:a16="http://schemas.microsoft.com/office/drawing/2014/main" id="{44BB02AB-F970-4F91-A89C-1973840E8306}"/>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solidFill>
                  <a:schemeClr val="bg1"/>
                </a:solidFill>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1659090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Dark Purple">
    <p:bg>
      <p:bgPr>
        <a:solidFill>
          <a:srgbClr val="2B1B49"/>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a:t>Click to edit master title style</a:t>
            </a:r>
          </a:p>
        </p:txBody>
      </p:sp>
      <p:sp>
        <p:nvSpPr>
          <p:cNvPr id="6" name="TextBox 5">
            <a:extLst>
              <a:ext uri="{FF2B5EF4-FFF2-40B4-BE49-F238E27FC236}">
                <a16:creationId xmlns:a16="http://schemas.microsoft.com/office/drawing/2014/main" id="{4E4AA359-29EA-5F4F-BDCD-44D77DDDBA39}"/>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bg1"/>
                </a:solidFill>
                <a:latin typeface="Elevance Sans" pitchFamily="2" charset="77"/>
              </a:rPr>
              <a:pPr algn="r"/>
              <a:t>‹#›</a:t>
            </a:fld>
            <a:endParaRPr lang="en-US" sz="900" b="0" i="0">
              <a:solidFill>
                <a:schemeClr val="bg1"/>
              </a:solidFill>
              <a:latin typeface="Elevance Sans" pitchFamily="2" charset="77"/>
            </a:endParaRPr>
          </a:p>
        </p:txBody>
      </p:sp>
      <p:pic>
        <p:nvPicPr>
          <p:cNvPr id="8" name="Graphic 7">
            <a:extLst>
              <a:ext uri="{FF2B5EF4-FFF2-40B4-BE49-F238E27FC236}">
                <a16:creationId xmlns:a16="http://schemas.microsoft.com/office/drawing/2014/main" id="{732D85FF-C9D8-F24D-9CA2-21283ABF1C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99" y="6181343"/>
            <a:ext cx="365760" cy="365760"/>
          </a:xfrm>
          <a:prstGeom prst="rect">
            <a:avLst/>
          </a:prstGeom>
        </p:spPr>
      </p:pic>
      <p:sp>
        <p:nvSpPr>
          <p:cNvPr id="7" name="Text Placeholder 3">
            <a:extLst>
              <a:ext uri="{FF2B5EF4-FFF2-40B4-BE49-F238E27FC236}">
                <a16:creationId xmlns:a16="http://schemas.microsoft.com/office/drawing/2014/main" id="{76AA53B9-DE63-7BE1-CF43-C92B31797461}"/>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solidFill>
                  <a:schemeClr val="bg1"/>
                </a:solidFill>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2015938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inear Supergraphic">
    <p:spTree>
      <p:nvGrpSpPr>
        <p:cNvPr id="1" name=""/>
        <p:cNvGrpSpPr/>
        <p:nvPr/>
      </p:nvGrpSpPr>
      <p:grpSpPr>
        <a:xfrm>
          <a:off x="0" y="0"/>
          <a:ext cx="0" cy="0"/>
          <a:chOff x="0" y="0"/>
          <a:chExt cx="0" cy="0"/>
        </a:xfrm>
      </p:grpSpPr>
      <p:sp>
        <p:nvSpPr>
          <p:cNvPr id="7" name="Arc 6">
            <a:extLst>
              <a:ext uri="{FF2B5EF4-FFF2-40B4-BE49-F238E27FC236}">
                <a16:creationId xmlns:a16="http://schemas.microsoft.com/office/drawing/2014/main" id="{FE20D0F9-50E8-FC44-9957-5927A5C28D74}"/>
              </a:ext>
            </a:extLst>
          </p:cNvPr>
          <p:cNvSpPr/>
          <p:nvPr/>
        </p:nvSpPr>
        <p:spPr>
          <a:xfrm rot="10800000">
            <a:off x="7700406" y="-5517141"/>
            <a:ext cx="8983187" cy="8983187"/>
          </a:xfrm>
          <a:prstGeom prst="arc">
            <a:avLst>
              <a:gd name="adj1" fmla="val 16200000"/>
              <a:gd name="adj2" fmla="val 2083408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a:solidFill>
                <a:schemeClr val="lt1"/>
              </a:solidFill>
              <a:latin typeface="Elevance Sans" pitchFamily="2" charset="77"/>
            </a:endParaRPr>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983117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15088" y="1503979"/>
            <a:ext cx="8349500" cy="1567689"/>
          </a:xfrm>
        </p:spPr>
        <p:txBody>
          <a:bodyPr vert="horz" anchor="b" anchorCtr="0"/>
          <a:lstStyle>
            <a:lvl1pPr algn="l">
              <a:defRPr sz="5200">
                <a:solidFill>
                  <a:schemeClr val="tx1"/>
                </a:solidFill>
              </a:defRPr>
            </a:lvl1pPr>
          </a:lstStyle>
          <a:p>
            <a:r>
              <a:rPr lang="en-US"/>
              <a:t>Click to add  </a:t>
            </a:r>
            <a:br>
              <a:rPr lang="en-US"/>
            </a:br>
            <a:r>
              <a:rPr lang="en-US"/>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5088" y="4517136"/>
            <a:ext cx="5638800" cy="228600"/>
          </a:xfrm>
        </p:spPr>
        <p:txBody>
          <a:bodyPr/>
          <a:lstStyle>
            <a:lvl1pPr marL="0" indent="0" algn="l">
              <a:buNone/>
              <a:defRPr sz="1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cxnSp>
        <p:nvCxnSpPr>
          <p:cNvPr id="5" name="Straight Connector 4">
            <a:extLst>
              <a:ext uri="{FF2B5EF4-FFF2-40B4-BE49-F238E27FC236}">
                <a16:creationId xmlns:a16="http://schemas.microsoft.com/office/drawing/2014/main" id="{48F072A8-8335-584F-BE52-8FBA3F06E93A}"/>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336C828C-5FD5-5842-8A7F-FCDE3E492A7E}"/>
              </a:ext>
            </a:extLst>
          </p:cNvPr>
          <p:cNvSpPr/>
          <p:nvPr/>
        </p:nvSpPr>
        <p:spPr>
          <a:xfrm rot="16200000">
            <a:off x="7700406" y="3466048"/>
            <a:ext cx="8983187" cy="8983187"/>
          </a:xfrm>
          <a:prstGeom prst="arc">
            <a:avLst>
              <a:gd name="adj1" fmla="val 17028583"/>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a:solidFill>
                <a:schemeClr val="lt1"/>
              </a:solidFill>
              <a:latin typeface="Elevance Sans" pitchFamily="2" charset="77"/>
            </a:endParaRPr>
          </a:p>
        </p:txBody>
      </p:sp>
      <p:sp>
        <p:nvSpPr>
          <p:cNvPr id="9" name="Text Placeholder 11">
            <a:extLst>
              <a:ext uri="{FF2B5EF4-FFF2-40B4-BE49-F238E27FC236}">
                <a16:creationId xmlns:a16="http://schemas.microsoft.com/office/drawing/2014/main" id="{7DD3FC0C-5E28-CC45-ACF0-E5E428993029}"/>
              </a:ext>
            </a:extLst>
          </p:cNvPr>
          <p:cNvSpPr>
            <a:spLocks noGrp="1"/>
          </p:cNvSpPr>
          <p:nvPr>
            <p:ph type="body" sz="quarter" idx="11" hasCustomPrompt="1"/>
          </p:nvPr>
        </p:nvSpPr>
        <p:spPr>
          <a:xfrm>
            <a:off x="415088" y="4758997"/>
            <a:ext cx="5638800" cy="224536"/>
          </a:xfrm>
        </p:spPr>
        <p:txBody>
          <a:bodyPr/>
          <a:lstStyle>
            <a:lvl1pPr marL="0" indent="0">
              <a:lnSpc>
                <a:spcPct val="100000"/>
              </a:lnSpc>
              <a:buNone/>
              <a:defRPr sz="1800" b="0" i="0">
                <a:latin typeface="Elevance Sans" pitchFamily="2" charset="77"/>
              </a:defRPr>
            </a:lvl1pPr>
          </a:lstStyle>
          <a:p>
            <a:pPr lvl="0"/>
            <a:r>
              <a:rPr lang="en-US"/>
              <a:t>Click to add date</a:t>
            </a:r>
          </a:p>
        </p:txBody>
      </p:sp>
      <p:pic>
        <p:nvPicPr>
          <p:cNvPr id="11" name="Graphic 10">
            <a:extLst>
              <a:ext uri="{FF2B5EF4-FFF2-40B4-BE49-F238E27FC236}">
                <a16:creationId xmlns:a16="http://schemas.microsoft.com/office/drawing/2014/main" id="{189E0B22-25D8-6FE3-8887-EA879F61A67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6061" y="578755"/>
            <a:ext cx="1786364" cy="463576"/>
          </a:xfrm>
          <a:prstGeom prst="rect">
            <a:avLst/>
          </a:prstGeom>
        </p:spPr>
      </p:pic>
    </p:spTree>
    <p:extLst>
      <p:ext uri="{BB962C8B-B14F-4D97-AF65-F5344CB8AC3E}">
        <p14:creationId xmlns:p14="http://schemas.microsoft.com/office/powerpoint/2010/main" val="26418031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199" y="1691640"/>
            <a:ext cx="2651125" cy="4315460"/>
          </a:xfrm>
        </p:spPr>
        <p:txBody>
          <a:bodyPr/>
          <a:lstStyle>
            <a:lvl1pPr marL="0" indent="0">
              <a:lnSpc>
                <a:spcPct val="120000"/>
              </a:lnSpc>
              <a:buNone/>
              <a:defRPr sz="1400" b="0" i="0">
                <a:latin typeface="Elevance Sans" pitchFamily="2" charset="77"/>
              </a:defRPr>
            </a:lvl1pPr>
          </a:lstStyle>
          <a:p>
            <a:pPr lvl="0"/>
            <a:r>
              <a:rPr lang="en-US"/>
              <a:t>Click to edit master text styles</a:t>
            </a:r>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691641"/>
            <a:ext cx="8397875" cy="4315460"/>
          </a:xfrm>
        </p:spPr>
        <p:txBody>
          <a:bodyPr/>
          <a:lstStyle>
            <a:lvl1pPr marL="0" indent="0">
              <a:buNone/>
              <a:defRPr sz="1400" b="0" i="0">
                <a:latin typeface="Elevance Sans" pitchFamily="2" charset="77"/>
              </a:defRPr>
            </a:lvl1pPr>
          </a:lstStyle>
          <a:p>
            <a:r>
              <a:rPr lang="en-US"/>
              <a:t>Click icon to add table</a:t>
            </a:r>
          </a:p>
        </p:txBody>
      </p:sp>
      <p:sp>
        <p:nvSpPr>
          <p:cNvPr id="3" name="Title 2">
            <a:extLst>
              <a:ext uri="{FF2B5EF4-FFF2-40B4-BE49-F238E27FC236}">
                <a16:creationId xmlns:a16="http://schemas.microsoft.com/office/drawing/2014/main" id="{323086E9-DD46-BF44-9FB9-ECD66EB7820F}"/>
              </a:ext>
            </a:extLst>
          </p:cNvPr>
          <p:cNvSpPr>
            <a:spLocks noGrp="1"/>
          </p:cNvSpPr>
          <p:nvPr>
            <p:ph type="title" hasCustomPrompt="1"/>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8AC43919-65F4-AC45-90D9-184605FD6F63}"/>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14848555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A900F767-BE76-4CEE-AC77-B4E0495DE07D}"/>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12582352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200" y="1691640"/>
            <a:ext cx="2651124" cy="4315460"/>
          </a:xfrm>
        </p:spPr>
        <p:txBody>
          <a:bodyPr/>
          <a:lstStyle>
            <a:lvl1pPr marL="0" indent="0">
              <a:lnSpc>
                <a:spcPct val="120000"/>
              </a:lnSpc>
              <a:buNone/>
              <a:defRPr sz="1400" b="0" i="0">
                <a:latin typeface="Elevance Sans" pitchFamily="2" charset="77"/>
              </a:defRPr>
            </a:lvl1pPr>
          </a:lstStyle>
          <a:p>
            <a:pPr lvl="0"/>
            <a:r>
              <a:rPr lang="en-US"/>
              <a:t>Click to edit master text styles</a:t>
            </a:r>
          </a:p>
        </p:txBody>
      </p:sp>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3336925" y="0"/>
            <a:ext cx="8855075" cy="6858000"/>
          </a:xfrm>
          <a:solidFill>
            <a:schemeClr val="bg1">
              <a:lumMod val="95000"/>
            </a:schemeClr>
          </a:solidFill>
        </p:spPr>
        <p:txBody>
          <a:bodyPr/>
          <a:lstStyle>
            <a:lvl1pPr marL="0" indent="0">
              <a:buNone/>
              <a:defRPr sz="1200"/>
            </a:lvl1pPr>
          </a:lstStyle>
          <a:p>
            <a:r>
              <a:rPr lang="en-US"/>
              <a:t>Click icon to add picture</a:t>
            </a:r>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199" y="384048"/>
            <a:ext cx="2651125" cy="822960"/>
          </a:xfrm>
        </p:spPr>
        <p:txBody>
          <a:bodyPr/>
          <a:lstStyle/>
          <a:p>
            <a:r>
              <a:rPr lang="en-US"/>
              <a:t>Click to add title</a:t>
            </a:r>
          </a:p>
        </p:txBody>
      </p:sp>
      <p:sp>
        <p:nvSpPr>
          <p:cNvPr id="7" name="Text Placeholder 3">
            <a:extLst>
              <a:ext uri="{FF2B5EF4-FFF2-40B4-BE49-F238E27FC236}">
                <a16:creationId xmlns:a16="http://schemas.microsoft.com/office/drawing/2014/main" id="{7EAA3626-B192-7954-2795-53FA1BDAEF44}"/>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b="0" i="0">
                <a:solidFill>
                  <a:schemeClr val="bg1"/>
                </a:solidFill>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DB91F917-4553-0B4C-86D1-30F17B222285}" type="slidenum">
              <a:rPr lang="en-US" smtClean="0"/>
              <a:t>‹#›</a:t>
            </a:fld>
            <a:endParaRPr lang="en-US"/>
          </a:p>
        </p:txBody>
      </p:sp>
      <p:sp>
        <p:nvSpPr>
          <p:cNvPr id="9" name="Text Placeholder 3">
            <a:extLst>
              <a:ext uri="{FF2B5EF4-FFF2-40B4-BE49-F238E27FC236}">
                <a16:creationId xmlns:a16="http://schemas.microsoft.com/office/drawing/2014/main" id="{6A252A36-C9C2-A4C8-798D-15C5353A4B91}"/>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solidFill>
                  <a:schemeClr val="bg1"/>
                </a:solidFill>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31665466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27230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4048"/>
            <a:ext cx="5334000" cy="822960"/>
          </a:xfrm>
        </p:spPr>
        <p:txBody>
          <a:bodyPr/>
          <a:lstStyle/>
          <a:p>
            <a:r>
              <a:rPr lang="en-US"/>
              <a:t>Click to add title</a:t>
            </a:r>
          </a:p>
        </p:txBody>
      </p:sp>
      <p:sp>
        <p:nvSpPr>
          <p:cNvPr id="7" name="Text Placeholder 3">
            <a:extLst>
              <a:ext uri="{FF2B5EF4-FFF2-40B4-BE49-F238E27FC236}">
                <a16:creationId xmlns:a16="http://schemas.microsoft.com/office/drawing/2014/main" id="{A1CF216C-01D7-7A42-655D-ED8193489E2B}"/>
              </a:ext>
            </a:extLst>
          </p:cNvPr>
          <p:cNvSpPr>
            <a:spLocks noGrp="1"/>
          </p:cNvSpPr>
          <p:nvPr>
            <p:ph type="body" sz="half" idx="2" hasCustomPrompt="1"/>
          </p:nvPr>
        </p:nvSpPr>
        <p:spPr>
          <a:xfrm>
            <a:off x="1419224" y="6306217"/>
            <a:ext cx="4371975"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4" name="Text Placeholder 3">
            <a:extLst>
              <a:ext uri="{FF2B5EF4-FFF2-40B4-BE49-F238E27FC236}">
                <a16:creationId xmlns:a16="http://schemas.microsoft.com/office/drawing/2014/main" id="{39E43737-9BA8-28F9-9B37-28D9385536F1}"/>
              </a:ext>
            </a:extLst>
          </p:cNvPr>
          <p:cNvSpPr>
            <a:spLocks noGrp="1"/>
          </p:cNvSpPr>
          <p:nvPr>
            <p:ph type="body" sz="quarter" idx="15"/>
          </p:nvPr>
        </p:nvSpPr>
        <p:spPr>
          <a:xfrm>
            <a:off x="457200" y="1691640"/>
            <a:ext cx="5334000" cy="4315460"/>
          </a:xfrm>
        </p:spPr>
        <p:txBody>
          <a:bodyPr/>
          <a:lstStyle>
            <a:lvl1pPr>
              <a:lnSpc>
                <a:spcPct val="120000"/>
              </a:lnSpc>
              <a:spcBef>
                <a:spcPts val="1600"/>
              </a:spcBef>
              <a:defRPr sz="1600" b="0" i="0">
                <a:latin typeface="Elevance Sans" pitchFamily="2" charset="77"/>
              </a:defRPr>
            </a:lvl1pPr>
            <a:lvl2pPr marL="293688" indent="-293688">
              <a:lnSpc>
                <a:spcPct val="120000"/>
              </a:lnSpc>
              <a:spcBef>
                <a:spcPts val="1600"/>
              </a:spcBef>
              <a:buFont typeface="Elevance Sans" pitchFamily="2" charset="0"/>
              <a:buChar char="•"/>
              <a:tabLst/>
              <a:defRPr sz="1600" b="0" i="0">
                <a:latin typeface="Elevance Sans" pitchFamily="2" charset="77"/>
              </a:defRPr>
            </a:lvl2pPr>
            <a:lvl3pPr marL="9525" indent="0">
              <a:buNone/>
              <a:defRPr/>
            </a:lvl3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50FE2A77-52B0-0002-3E44-F3A5C0195718}"/>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b="0" i="0">
                <a:solidFill>
                  <a:schemeClr val="bg1"/>
                </a:solidFill>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F3D65CF3-2F65-3542-86CF-6454B72998A1}" type="slidenum">
              <a:rPr lang="en-US" smtClean="0"/>
              <a:t>‹#›</a:t>
            </a:fld>
            <a:endParaRPr lang="en-US"/>
          </a:p>
        </p:txBody>
      </p:sp>
    </p:spTree>
    <p:extLst>
      <p:ext uri="{BB962C8B-B14F-4D97-AF65-F5344CB8AC3E}">
        <p14:creationId xmlns:p14="http://schemas.microsoft.com/office/powerpoint/2010/main" val="27421917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s Three ico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Elevance Sans" pitchFamily="2" charset="77"/>
            </a:endParaRPr>
          </a:p>
        </p:txBody>
      </p:sp>
      <p:sp>
        <p:nvSpPr>
          <p:cNvPr id="23" name="Picture Placeholder 22">
            <a:extLst>
              <a:ext uri="{FF2B5EF4-FFF2-40B4-BE49-F238E27FC236}">
                <a16:creationId xmlns:a16="http://schemas.microsoft.com/office/drawing/2014/main" id="{C7E88C62-B078-D543-A31B-4986E333098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a:t>icon</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a:t>Click to add titl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Elevance Sans" pitchFamily="2" charset="77"/>
              </a:rPr>
              <a:pPr algn="r"/>
              <a:t>‹#›</a:t>
            </a:fld>
            <a:endParaRPr lang="en-US" sz="900" b="0" i="0">
              <a:solidFill>
                <a:schemeClr val="tx2"/>
              </a:solidFill>
              <a:latin typeface="Elevance Sans" pitchFamily="2" charset="77"/>
            </a:endParaRPr>
          </a:p>
        </p:txBody>
      </p:sp>
      <p:sp>
        <p:nvSpPr>
          <p:cNvPr id="6" name="Text Placeholder 5">
            <a:extLst>
              <a:ext uri="{FF2B5EF4-FFF2-40B4-BE49-F238E27FC236}">
                <a16:creationId xmlns:a16="http://schemas.microsoft.com/office/drawing/2014/main" id="{408DCCDA-24C3-CC42-9EEC-7C84C2FB8571}"/>
              </a:ext>
            </a:extLst>
          </p:cNvPr>
          <p:cNvSpPr>
            <a:spLocks noGrp="1"/>
          </p:cNvSpPr>
          <p:nvPr>
            <p:ph type="body" sz="quarter" idx="15"/>
          </p:nvPr>
        </p:nvSpPr>
        <p:spPr>
          <a:xfrm>
            <a:off x="6773863" y="1691640"/>
            <a:ext cx="4249737" cy="316103"/>
          </a:xfrm>
        </p:spPr>
        <p:txBody>
          <a:bodyPr/>
          <a:lstStyle>
            <a:lvl1pPr>
              <a:lnSpc>
                <a:spcPct val="120000"/>
              </a:lnSpc>
              <a:defRPr sz="1600"/>
            </a:lvl1pPr>
          </a:lstStyle>
          <a:p>
            <a:pPr lvl="0"/>
            <a:r>
              <a:rPr lang="en-US"/>
              <a:t>Click to edit Master text styles</a:t>
            </a:r>
          </a:p>
        </p:txBody>
      </p:sp>
      <p:sp>
        <p:nvSpPr>
          <p:cNvPr id="19" name="Text Placeholder 18">
            <a:extLst>
              <a:ext uri="{FF2B5EF4-FFF2-40B4-BE49-F238E27FC236}">
                <a16:creationId xmlns:a16="http://schemas.microsoft.com/office/drawing/2014/main" id="{2628AA8C-3AA3-804C-BAC2-938EE013A99D}"/>
              </a:ext>
            </a:extLst>
          </p:cNvPr>
          <p:cNvSpPr>
            <a:spLocks noGrp="1"/>
          </p:cNvSpPr>
          <p:nvPr>
            <p:ph type="body" sz="quarter" idx="16"/>
          </p:nvPr>
        </p:nvSpPr>
        <p:spPr>
          <a:xfrm>
            <a:off x="7915275" y="2354336"/>
            <a:ext cx="3818526" cy="723265"/>
          </a:xfrm>
        </p:spPr>
        <p:txBody>
          <a:bodyPr/>
          <a:lstStyle>
            <a:lvl1pPr>
              <a:lnSpc>
                <a:spcPct val="120000"/>
              </a:lnSpc>
              <a:defRPr sz="1200" b="0" i="0">
                <a:latin typeface="Elevance Sans" pitchFamily="2" charset="77"/>
              </a:defRPr>
            </a:lvl1pPr>
          </a:lstStyle>
          <a:p>
            <a:pPr lvl="0"/>
            <a:r>
              <a:rPr lang="en-US"/>
              <a:t>Click to edit Master text styles</a:t>
            </a:r>
          </a:p>
        </p:txBody>
      </p:sp>
      <p:sp>
        <p:nvSpPr>
          <p:cNvPr id="20" name="Text Placeholder 18">
            <a:extLst>
              <a:ext uri="{FF2B5EF4-FFF2-40B4-BE49-F238E27FC236}">
                <a16:creationId xmlns:a16="http://schemas.microsoft.com/office/drawing/2014/main" id="{60BE6EBB-EB34-2242-AEBC-48C5BF2653DE}"/>
              </a:ext>
            </a:extLst>
          </p:cNvPr>
          <p:cNvSpPr>
            <a:spLocks noGrp="1"/>
          </p:cNvSpPr>
          <p:nvPr>
            <p:ph type="body" sz="quarter" idx="17"/>
          </p:nvPr>
        </p:nvSpPr>
        <p:spPr>
          <a:xfrm>
            <a:off x="7915275" y="3736210"/>
            <a:ext cx="3818526" cy="723265"/>
          </a:xfrm>
        </p:spPr>
        <p:txBody>
          <a:bodyPr/>
          <a:lstStyle>
            <a:lvl1pPr>
              <a:lnSpc>
                <a:spcPct val="120000"/>
              </a:lnSpc>
              <a:defRPr sz="1200" b="0" i="0">
                <a:latin typeface="Elevance Sans" pitchFamily="2" charset="77"/>
              </a:defRPr>
            </a:lvl1pPr>
          </a:lstStyle>
          <a:p>
            <a:pPr lvl="0"/>
            <a:r>
              <a:rPr lang="en-US"/>
              <a:t>Click to edit Master text styles</a:t>
            </a:r>
          </a:p>
        </p:txBody>
      </p:sp>
      <p:sp>
        <p:nvSpPr>
          <p:cNvPr id="21" name="Text Placeholder 18">
            <a:extLst>
              <a:ext uri="{FF2B5EF4-FFF2-40B4-BE49-F238E27FC236}">
                <a16:creationId xmlns:a16="http://schemas.microsoft.com/office/drawing/2014/main" id="{62787009-1D09-0143-B730-093388290FEE}"/>
              </a:ext>
            </a:extLst>
          </p:cNvPr>
          <p:cNvSpPr>
            <a:spLocks noGrp="1"/>
          </p:cNvSpPr>
          <p:nvPr>
            <p:ph type="body" sz="quarter" idx="18"/>
          </p:nvPr>
        </p:nvSpPr>
        <p:spPr>
          <a:xfrm>
            <a:off x="7915275" y="5118084"/>
            <a:ext cx="3818526" cy="723265"/>
          </a:xfrm>
        </p:spPr>
        <p:txBody>
          <a:bodyPr/>
          <a:lstStyle>
            <a:lvl1pPr>
              <a:lnSpc>
                <a:spcPct val="120000"/>
              </a:lnSpc>
              <a:defRPr sz="1200" b="0" i="0">
                <a:latin typeface="Elevance Sans" pitchFamily="2" charset="77"/>
              </a:defRPr>
            </a:lvl1pPr>
          </a:lstStyle>
          <a:p>
            <a:pPr lvl="0"/>
            <a:r>
              <a:rPr lang="en-US"/>
              <a:t>Click to edit Master text styles</a:t>
            </a:r>
          </a:p>
        </p:txBody>
      </p:sp>
      <p:sp>
        <p:nvSpPr>
          <p:cNvPr id="24" name="Picture Placeholder 22">
            <a:extLst>
              <a:ext uri="{FF2B5EF4-FFF2-40B4-BE49-F238E27FC236}">
                <a16:creationId xmlns:a16="http://schemas.microsoft.com/office/drawing/2014/main" id="{926707BB-0CF8-D742-A1DA-677AC916C15E}"/>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a:t>icon</a:t>
            </a:r>
          </a:p>
        </p:txBody>
      </p:sp>
      <p:sp>
        <p:nvSpPr>
          <p:cNvPr id="25" name="Picture Placeholder 22">
            <a:extLst>
              <a:ext uri="{FF2B5EF4-FFF2-40B4-BE49-F238E27FC236}">
                <a16:creationId xmlns:a16="http://schemas.microsoft.com/office/drawing/2014/main" id="{F2140207-71CD-1744-B834-6438BAD46B26}"/>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a:t>icon</a:t>
            </a:r>
          </a:p>
        </p:txBody>
      </p:sp>
      <p:sp>
        <p:nvSpPr>
          <p:cNvPr id="15" name="Text Placeholder 3">
            <a:extLst>
              <a:ext uri="{FF2B5EF4-FFF2-40B4-BE49-F238E27FC236}">
                <a16:creationId xmlns:a16="http://schemas.microsoft.com/office/drawing/2014/main" id="{F40F05F6-3DE7-6705-C11E-BA69FCC7422B}"/>
              </a:ext>
            </a:extLst>
          </p:cNvPr>
          <p:cNvSpPr>
            <a:spLocks noGrp="1"/>
          </p:cNvSpPr>
          <p:nvPr>
            <p:ph type="body" sz="half" idx="2" hasCustomPrompt="1"/>
          </p:nvPr>
        </p:nvSpPr>
        <p:spPr>
          <a:xfrm>
            <a:off x="1419224" y="6306217"/>
            <a:ext cx="4371975"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5" name="Text Placeholder 4">
            <a:extLst>
              <a:ext uri="{FF2B5EF4-FFF2-40B4-BE49-F238E27FC236}">
                <a16:creationId xmlns:a16="http://schemas.microsoft.com/office/drawing/2014/main" id="{0E2F481A-950D-FAC1-C471-F344B373ED4C}"/>
              </a:ext>
            </a:extLst>
          </p:cNvPr>
          <p:cNvSpPr>
            <a:spLocks noGrp="1"/>
          </p:cNvSpPr>
          <p:nvPr>
            <p:ph type="body" sz="quarter" idx="23"/>
          </p:nvPr>
        </p:nvSpPr>
        <p:spPr>
          <a:xfrm>
            <a:off x="457200" y="1691640"/>
            <a:ext cx="5435600" cy="4315460"/>
          </a:xfrm>
        </p:spPr>
        <p:txBody>
          <a:bodyPr/>
          <a:lstStyle>
            <a:lvl1pPr>
              <a:lnSpc>
                <a:spcPct val="120000"/>
              </a:lnSpc>
              <a:spcBef>
                <a:spcPts val="1600"/>
              </a:spcBef>
              <a:defRPr sz="1600"/>
            </a:lvl1pPr>
            <a:lvl2pPr>
              <a:lnSpc>
                <a:spcPct val="120000"/>
              </a:lnSpc>
              <a:spcBef>
                <a:spcPts val="1600"/>
              </a:spcBef>
              <a:defRPr sz="1600" b="0" i="0">
                <a:latin typeface="Elevance Sans" pitchFamily="2" charset="77"/>
              </a:defRPr>
            </a:lvl2pPr>
            <a:lvl3pPr>
              <a:lnSpc>
                <a:spcPct val="120000"/>
              </a:lnSpc>
              <a:spcBef>
                <a:spcPts val="1600"/>
              </a:spcBef>
              <a:defRPr sz="1600" b="0" i="0">
                <a:latin typeface="Elevance Sans" pitchFamily="2" charset="77"/>
              </a:defRPr>
            </a:lvl3pPr>
            <a:lvl4pPr>
              <a:lnSpc>
                <a:spcPct val="120000"/>
              </a:lnSpc>
              <a:spcBef>
                <a:spcPts val="1600"/>
              </a:spcBef>
              <a:defRPr sz="1600" b="0" i="0">
                <a:latin typeface="Elevance Sans" pitchFamily="2" charset="77"/>
              </a:defRPr>
            </a:lvl4pPr>
            <a:lvl5pPr>
              <a:lnSpc>
                <a:spcPct val="120000"/>
              </a:lnSpc>
              <a:spcBef>
                <a:spcPts val="1600"/>
              </a:spcBef>
              <a:defRPr sz="1600" b="0" i="0">
                <a:latin typeface="Elevance Sans" pitchFamily="2" charset="77"/>
              </a:defRPr>
            </a:lvl5pPr>
            <a:lvl6pPr>
              <a:lnSpc>
                <a:spcPct val="12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34940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Elevance Sans" pitchFamily="2" charset="77"/>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a:t>Click to add titl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Elevance Sans" pitchFamily="2" charset="77"/>
              </a:rPr>
              <a:pPr algn="r"/>
              <a:t>‹#›</a:t>
            </a:fld>
            <a:endParaRPr lang="en-US" sz="900" b="0" i="0">
              <a:solidFill>
                <a:schemeClr val="tx2"/>
              </a:solidFill>
              <a:latin typeface="Elevance Sans" pitchFamily="2" charset="77"/>
            </a:endParaRPr>
          </a:p>
        </p:txBody>
      </p:sp>
      <p:sp>
        <p:nvSpPr>
          <p:cNvPr id="15" name="Text Placeholder 3">
            <a:extLst>
              <a:ext uri="{FF2B5EF4-FFF2-40B4-BE49-F238E27FC236}">
                <a16:creationId xmlns:a16="http://schemas.microsoft.com/office/drawing/2014/main" id="{F40F05F6-3DE7-6705-C11E-BA69FCC7422B}"/>
              </a:ext>
            </a:extLst>
          </p:cNvPr>
          <p:cNvSpPr>
            <a:spLocks noGrp="1"/>
          </p:cNvSpPr>
          <p:nvPr>
            <p:ph type="body" sz="half" idx="2" hasCustomPrompt="1"/>
          </p:nvPr>
        </p:nvSpPr>
        <p:spPr>
          <a:xfrm>
            <a:off x="1419224" y="6306217"/>
            <a:ext cx="4371975"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5" name="Text Placeholder 4">
            <a:extLst>
              <a:ext uri="{FF2B5EF4-FFF2-40B4-BE49-F238E27FC236}">
                <a16:creationId xmlns:a16="http://schemas.microsoft.com/office/drawing/2014/main" id="{0E2F481A-950D-FAC1-C471-F344B373ED4C}"/>
              </a:ext>
            </a:extLst>
          </p:cNvPr>
          <p:cNvSpPr>
            <a:spLocks noGrp="1"/>
          </p:cNvSpPr>
          <p:nvPr>
            <p:ph type="body" sz="quarter" idx="23"/>
          </p:nvPr>
        </p:nvSpPr>
        <p:spPr>
          <a:xfrm>
            <a:off x="457200" y="1691640"/>
            <a:ext cx="5435600" cy="4315460"/>
          </a:xfrm>
        </p:spPr>
        <p:txBody>
          <a:bodyPr/>
          <a:lstStyle>
            <a:lvl1pPr>
              <a:lnSpc>
                <a:spcPct val="120000"/>
              </a:lnSpc>
              <a:spcBef>
                <a:spcPts val="1600"/>
              </a:spcBef>
              <a:defRPr sz="1600"/>
            </a:lvl1pPr>
            <a:lvl2pPr>
              <a:lnSpc>
                <a:spcPct val="120000"/>
              </a:lnSpc>
              <a:spcBef>
                <a:spcPts val="1600"/>
              </a:spcBef>
              <a:defRPr sz="1600" b="0" i="0">
                <a:latin typeface="Elevance Sans" pitchFamily="2" charset="77"/>
              </a:defRPr>
            </a:lvl2pPr>
            <a:lvl3pPr>
              <a:lnSpc>
                <a:spcPct val="120000"/>
              </a:lnSpc>
              <a:spcBef>
                <a:spcPts val="1600"/>
              </a:spcBef>
              <a:defRPr sz="1600" b="0" i="0">
                <a:latin typeface="Elevance Sans" pitchFamily="2" charset="77"/>
              </a:defRPr>
            </a:lvl3pPr>
            <a:lvl4pPr>
              <a:lnSpc>
                <a:spcPct val="120000"/>
              </a:lnSpc>
              <a:spcBef>
                <a:spcPts val="1600"/>
              </a:spcBef>
              <a:defRPr sz="1600" b="0" i="0">
                <a:latin typeface="Elevance Sans" pitchFamily="2" charset="77"/>
              </a:defRPr>
            </a:lvl4pPr>
            <a:lvl5pPr>
              <a:lnSpc>
                <a:spcPct val="120000"/>
              </a:lnSpc>
              <a:spcBef>
                <a:spcPts val="1600"/>
              </a:spcBef>
              <a:defRPr sz="1600" b="0" i="0">
                <a:latin typeface="Elevance Sans" pitchFamily="2" charset="77"/>
              </a:defRPr>
            </a:lvl5pPr>
            <a:lvl6pPr>
              <a:lnSpc>
                <a:spcPct val="12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44498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11418EC-3C88-4D46-862D-8E997A834E37}"/>
              </a:ext>
            </a:extLst>
          </p:cNvPr>
          <p:cNvSpPr>
            <a:spLocks noGrp="1"/>
          </p:cNvSpPr>
          <p:nvPr>
            <p:ph type="pic" sz="quarter" idx="10"/>
          </p:nvPr>
        </p:nvSpPr>
        <p:spPr>
          <a:xfrm>
            <a:off x="0" y="0"/>
            <a:ext cx="12192000" cy="6858000"/>
          </a:xfrm>
          <a:solidFill>
            <a:schemeClr val="bg1">
              <a:lumMod val="95000"/>
            </a:schemeClr>
          </a:solidFill>
        </p:spPr>
        <p:txBody>
          <a:bodyPr vert="horz" lIns="0" tIns="0" rIns="0" bIns="0" rtlCol="0">
            <a:noAutofit/>
          </a:bodyPr>
          <a:lstStyle>
            <a:lvl1pPr>
              <a:defRPr lang="en-US" sz="1200"/>
            </a:lvl1pPr>
          </a:lstStyle>
          <a:p>
            <a:pPr lvl="0"/>
            <a:r>
              <a:rPr lang="en-US"/>
              <a:t>Click icon to add picture</a:t>
            </a:r>
          </a:p>
        </p:txBody>
      </p:sp>
      <p:sp>
        <p:nvSpPr>
          <p:cNvPr id="3" name="Text Placeholder 10">
            <a:extLst>
              <a:ext uri="{FF2B5EF4-FFF2-40B4-BE49-F238E27FC236}">
                <a16:creationId xmlns:a16="http://schemas.microsoft.com/office/drawing/2014/main" id="{5E1CC42B-98BF-73E6-8CC8-8ED6776898E4}"/>
              </a:ext>
            </a:extLst>
          </p:cNvPr>
          <p:cNvSpPr>
            <a:spLocks noGrp="1"/>
          </p:cNvSpPr>
          <p:nvPr>
            <p:ph type="body" sz="quarter" idx="13"/>
          </p:nvPr>
        </p:nvSpPr>
        <p:spPr>
          <a:xfrm>
            <a:off x="0" y="0"/>
            <a:ext cx="12192000" cy="6858000"/>
          </a:xfrm>
          <a:gradFill>
            <a:gsLst>
              <a:gs pos="0">
                <a:srgbClr val="000000">
                  <a:alpha val="34000"/>
                </a:srgbClr>
              </a:gs>
              <a:gs pos="100000">
                <a:srgbClr val="000000">
                  <a:alpha val="34742"/>
                </a:srgbClr>
              </a:gs>
            </a:gsLst>
            <a:lin ang="0" scaled="0"/>
          </a:gradFill>
        </p:spPr>
        <p:txBody>
          <a:bodyPr vert="horz" lIns="0" tIns="0" rIns="0" bIns="0" rtlCol="0">
            <a:noAutofit/>
          </a:bodyPr>
          <a:lstStyle>
            <a:lvl1pPr>
              <a:defRPr lang="en-US" sz="100">
                <a:solidFill>
                  <a:schemeClr val="bg1">
                    <a:alpha val="0"/>
                  </a:schemeClr>
                </a:solidFill>
              </a:defRPr>
            </a:lvl1pPr>
          </a:lstStyle>
          <a:p>
            <a:pPr lvl="0"/>
            <a:r>
              <a:rPr lang="en-US"/>
              <a:t>Click to edit Master text styles</a:t>
            </a:r>
          </a:p>
        </p:txBody>
      </p:sp>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8331576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997200"/>
          </a:xfrm>
        </p:spPr>
        <p:txBody>
          <a:bodyPr vert="horz"/>
          <a:lstStyle>
            <a:lvl1pPr>
              <a:defRPr sz="6600">
                <a:solidFill>
                  <a:schemeClr val="bg1"/>
                </a:solidFill>
              </a:defRPr>
            </a:lvl1pPr>
          </a:lstStyle>
          <a:p>
            <a:r>
              <a:rPr lang="en-US"/>
              <a:t>Hero statement </a:t>
            </a:r>
            <a:br>
              <a:rPr lang="en-US"/>
            </a:br>
            <a:r>
              <a:rPr lang="en-US"/>
              <a:t>or divider title here</a:t>
            </a:r>
          </a:p>
        </p:txBody>
      </p:sp>
      <p:sp>
        <p:nvSpPr>
          <p:cNvPr id="16" name="Text Placeholder 15">
            <a:extLst>
              <a:ext uri="{FF2B5EF4-FFF2-40B4-BE49-F238E27FC236}">
                <a16:creationId xmlns:a16="http://schemas.microsoft.com/office/drawing/2014/main" id="{37CEF25A-BB49-7744-A3F7-57849C61D7A6}"/>
              </a:ext>
            </a:extLst>
          </p:cNvPr>
          <p:cNvSpPr>
            <a:spLocks noGrp="1"/>
          </p:cNvSpPr>
          <p:nvPr>
            <p:ph type="body" sz="quarter" idx="11"/>
          </p:nvPr>
        </p:nvSpPr>
        <p:spPr>
          <a:xfrm>
            <a:off x="457198" y="6181343"/>
            <a:ext cx="365345" cy="365371"/>
          </a:xfrm>
          <a:custGeom>
            <a:avLst/>
            <a:gdLst>
              <a:gd name="connsiteX0" fmla="*/ 248180 w 365345"/>
              <a:gd name="connsiteY0" fmla="*/ 130851 h 365371"/>
              <a:gd name="connsiteX1" fmla="*/ 259521 w 365345"/>
              <a:gd name="connsiteY1" fmla="*/ 136692 h 365371"/>
              <a:gd name="connsiteX2" fmla="*/ 277100 w 365345"/>
              <a:gd name="connsiteY2" fmla="*/ 139811 h 365371"/>
              <a:gd name="connsiteX3" fmla="*/ 259436 w 365345"/>
              <a:gd name="connsiteY3" fmla="*/ 182681 h 365371"/>
              <a:gd name="connsiteX4" fmla="*/ 263576 w 365345"/>
              <a:gd name="connsiteY4" fmla="*/ 190110 h 365371"/>
              <a:gd name="connsiteX5" fmla="*/ 277185 w 365345"/>
              <a:gd name="connsiteY5" fmla="*/ 189061 h 365371"/>
              <a:gd name="connsiteX6" fmla="*/ 291787 w 365345"/>
              <a:gd name="connsiteY6" fmla="*/ 190280 h 365371"/>
              <a:gd name="connsiteX7" fmla="*/ 364117 w 365345"/>
              <a:gd name="connsiteY7" fmla="*/ 291814 h 365371"/>
              <a:gd name="connsiteX8" fmla="*/ 262583 w 365345"/>
              <a:gd name="connsiteY8" fmla="*/ 364143 h 365371"/>
              <a:gd name="connsiteX9" fmla="*/ 190253 w 365345"/>
              <a:gd name="connsiteY9" fmla="*/ 262610 h 365371"/>
              <a:gd name="connsiteX10" fmla="*/ 225525 w 365345"/>
              <a:gd name="connsiteY10" fmla="*/ 277127 h 365371"/>
              <a:gd name="connsiteX11" fmla="*/ 234542 w 365345"/>
              <a:gd name="connsiteY11" fmla="*/ 306359 h 365371"/>
              <a:gd name="connsiteX12" fmla="*/ 306304 w 365345"/>
              <a:gd name="connsiteY12" fmla="*/ 319827 h 365371"/>
              <a:gd name="connsiteX13" fmla="*/ 319772 w 365345"/>
              <a:gd name="connsiteY13" fmla="*/ 248064 h 365371"/>
              <a:gd name="connsiteX14" fmla="*/ 248010 w 365345"/>
              <a:gd name="connsiteY14" fmla="*/ 234596 h 365371"/>
              <a:gd name="connsiteX15" fmla="*/ 226773 w 365345"/>
              <a:gd name="connsiteY15" fmla="*/ 182681 h 365371"/>
              <a:gd name="connsiteX16" fmla="*/ 277156 w 365345"/>
              <a:gd name="connsiteY16" fmla="*/ 0 h 365371"/>
              <a:gd name="connsiteX17" fmla="*/ 277185 w 365345"/>
              <a:gd name="connsiteY17" fmla="*/ 0 h 365371"/>
              <a:gd name="connsiteX18" fmla="*/ 277156 w 365345"/>
              <a:gd name="connsiteY18" fmla="*/ 6 h 365371"/>
              <a:gd name="connsiteX19" fmla="*/ 88095 w 365345"/>
              <a:gd name="connsiteY19" fmla="*/ 0 h 365371"/>
              <a:gd name="connsiteX20" fmla="*/ 103264 w 365345"/>
              <a:gd name="connsiteY20" fmla="*/ 1304 h 365371"/>
              <a:gd name="connsiteX21" fmla="*/ 173997 w 365345"/>
              <a:gd name="connsiteY21" fmla="*/ 67899 h 365371"/>
              <a:gd name="connsiteX22" fmla="*/ 175026 w 365345"/>
              <a:gd name="connsiteY22" fmla="*/ 102757 h 365371"/>
              <a:gd name="connsiteX23" fmla="*/ 182654 w 365345"/>
              <a:gd name="connsiteY23" fmla="*/ 105900 h 365371"/>
              <a:gd name="connsiteX24" fmla="*/ 190083 w 365345"/>
              <a:gd name="connsiteY24" fmla="*/ 101761 h 365371"/>
              <a:gd name="connsiteX25" fmla="*/ 189034 w 365345"/>
              <a:gd name="connsiteY25" fmla="*/ 88151 h 365371"/>
              <a:gd name="connsiteX26" fmla="*/ 242873 w 365345"/>
              <a:gd name="connsiteY26" fmla="*/ 6928 h 365371"/>
              <a:gd name="connsiteX27" fmla="*/ 277156 w 365345"/>
              <a:gd name="connsiteY27" fmla="*/ 6 h 365371"/>
              <a:gd name="connsiteX28" fmla="*/ 277156 w 365345"/>
              <a:gd name="connsiteY28" fmla="*/ 142 h 365371"/>
              <a:gd name="connsiteX29" fmla="*/ 291758 w 365345"/>
              <a:gd name="connsiteY29" fmla="*/ 1361 h 365371"/>
              <a:gd name="connsiteX30" fmla="*/ 364088 w 365345"/>
              <a:gd name="connsiteY30" fmla="*/ 102895 h 365371"/>
              <a:gd name="connsiteX31" fmla="*/ 262554 w 365345"/>
              <a:gd name="connsiteY31" fmla="*/ 175225 h 365371"/>
              <a:gd name="connsiteX32" fmla="*/ 277100 w 365345"/>
              <a:gd name="connsiteY32" fmla="*/ 139953 h 365371"/>
              <a:gd name="connsiteX33" fmla="*/ 306332 w 365345"/>
              <a:gd name="connsiteY33" fmla="*/ 130936 h 365371"/>
              <a:gd name="connsiteX34" fmla="*/ 319800 w 365345"/>
              <a:gd name="connsiteY34" fmla="*/ 59174 h 365371"/>
              <a:gd name="connsiteX35" fmla="*/ 248037 w 365345"/>
              <a:gd name="connsiteY35" fmla="*/ 45706 h 365371"/>
              <a:gd name="connsiteX36" fmla="*/ 234569 w 365345"/>
              <a:gd name="connsiteY36" fmla="*/ 117469 h 365371"/>
              <a:gd name="connsiteX37" fmla="*/ 182654 w 365345"/>
              <a:gd name="connsiteY37" fmla="*/ 138564 h 365371"/>
              <a:gd name="connsiteX38" fmla="*/ 130824 w 365345"/>
              <a:gd name="connsiteY38" fmla="*/ 117213 h 365371"/>
              <a:gd name="connsiteX39" fmla="*/ 139780 w 365345"/>
              <a:gd name="connsiteY39" fmla="*/ 88250 h 365371"/>
              <a:gd name="connsiteX40" fmla="*/ 130767 w 365345"/>
              <a:gd name="connsiteY40" fmla="*/ 59032 h 365371"/>
              <a:gd name="connsiteX41" fmla="*/ 59005 w 365345"/>
              <a:gd name="connsiteY41" fmla="*/ 45564 h 365371"/>
              <a:gd name="connsiteX42" fmla="*/ 45537 w 365345"/>
              <a:gd name="connsiteY42" fmla="*/ 117327 h 365371"/>
              <a:gd name="connsiteX43" fmla="*/ 117299 w 365345"/>
              <a:gd name="connsiteY43" fmla="*/ 130795 h 365371"/>
              <a:gd name="connsiteX44" fmla="*/ 138508 w 365345"/>
              <a:gd name="connsiteY44" fmla="*/ 182682 h 365371"/>
              <a:gd name="connsiteX45" fmla="*/ 117101 w 365345"/>
              <a:gd name="connsiteY45" fmla="*/ 234512 h 365371"/>
              <a:gd name="connsiteX46" fmla="*/ 105760 w 365345"/>
              <a:gd name="connsiteY46" fmla="*/ 228671 h 365371"/>
              <a:gd name="connsiteX47" fmla="*/ 88180 w 365345"/>
              <a:gd name="connsiteY47" fmla="*/ 225552 h 365371"/>
              <a:gd name="connsiteX48" fmla="*/ 88180 w 365345"/>
              <a:gd name="connsiteY48" fmla="*/ 225551 h 365371"/>
              <a:gd name="connsiteX49" fmla="*/ 58948 w 365345"/>
              <a:gd name="connsiteY49" fmla="*/ 234568 h 365371"/>
              <a:gd name="connsiteX50" fmla="*/ 45480 w 365345"/>
              <a:gd name="connsiteY50" fmla="*/ 306330 h 365371"/>
              <a:gd name="connsiteX51" fmla="*/ 117243 w 365345"/>
              <a:gd name="connsiteY51" fmla="*/ 319798 h 365371"/>
              <a:gd name="connsiteX52" fmla="*/ 130711 w 365345"/>
              <a:gd name="connsiteY52" fmla="*/ 248036 h 365371"/>
              <a:gd name="connsiteX53" fmla="*/ 182655 w 365345"/>
              <a:gd name="connsiteY53" fmla="*/ 226799 h 365371"/>
              <a:gd name="connsiteX54" fmla="*/ 234456 w 365345"/>
              <a:gd name="connsiteY54" fmla="*/ 248149 h 365371"/>
              <a:gd name="connsiteX55" fmla="*/ 225525 w 365345"/>
              <a:gd name="connsiteY55" fmla="*/ 277126 h 365371"/>
              <a:gd name="connsiteX56" fmla="*/ 182655 w 365345"/>
              <a:gd name="connsiteY56" fmla="*/ 259462 h 365371"/>
              <a:gd name="connsiteX57" fmla="*/ 175226 w 365345"/>
              <a:gd name="connsiteY57" fmla="*/ 263602 h 365371"/>
              <a:gd name="connsiteX58" fmla="*/ 175056 w 365345"/>
              <a:gd name="connsiteY58" fmla="*/ 291700 h 365371"/>
              <a:gd name="connsiteX59" fmla="*/ 73635 w 365345"/>
              <a:gd name="connsiteY59" fmla="*/ 364030 h 365371"/>
              <a:gd name="connsiteX60" fmla="*/ 1306 w 365345"/>
              <a:gd name="connsiteY60" fmla="*/ 262609 h 365371"/>
              <a:gd name="connsiteX61" fmla="*/ 67768 w 365345"/>
              <a:gd name="connsiteY61" fmla="*/ 191450 h 365371"/>
              <a:gd name="connsiteX62" fmla="*/ 102704 w 365345"/>
              <a:gd name="connsiteY62" fmla="*/ 190281 h 365371"/>
              <a:gd name="connsiteX63" fmla="*/ 105845 w 365345"/>
              <a:gd name="connsiteY63" fmla="*/ 182653 h 365371"/>
              <a:gd name="connsiteX64" fmla="*/ 101705 w 365345"/>
              <a:gd name="connsiteY64" fmla="*/ 175253 h 365371"/>
              <a:gd name="connsiteX65" fmla="*/ 88095 w 365345"/>
              <a:gd name="connsiteY65" fmla="*/ 176302 h 365371"/>
              <a:gd name="connsiteX66" fmla="*/ 1 w 365345"/>
              <a:gd name="connsiteY66" fmla="*/ 88208 h 365371"/>
              <a:gd name="connsiteX67" fmla="*/ 88095 w 365345"/>
              <a:gd name="connsiteY67" fmla="*/ 0 h 36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65345" h="365371">
                <a:moveTo>
                  <a:pt x="248180" y="130851"/>
                </a:moveTo>
                <a:cubicBezTo>
                  <a:pt x="251695" y="133261"/>
                  <a:pt x="255523" y="135217"/>
                  <a:pt x="259521" y="136692"/>
                </a:cubicBezTo>
                <a:cubicBezTo>
                  <a:pt x="265163" y="138733"/>
                  <a:pt x="271118" y="139811"/>
                  <a:pt x="277100" y="139811"/>
                </a:cubicBezTo>
                <a:lnTo>
                  <a:pt x="259436" y="182681"/>
                </a:lnTo>
                <a:lnTo>
                  <a:pt x="263576" y="190110"/>
                </a:lnTo>
                <a:cubicBezTo>
                  <a:pt x="268084" y="189401"/>
                  <a:pt x="272620" y="189061"/>
                  <a:pt x="277185" y="189061"/>
                </a:cubicBezTo>
                <a:cubicBezTo>
                  <a:pt x="282090" y="189061"/>
                  <a:pt x="286967" y="189458"/>
                  <a:pt x="291787" y="190280"/>
                </a:cubicBezTo>
                <a:cubicBezTo>
                  <a:pt x="339790" y="198332"/>
                  <a:pt x="372169" y="243811"/>
                  <a:pt x="364117" y="291814"/>
                </a:cubicBezTo>
                <a:cubicBezTo>
                  <a:pt x="356065" y="339816"/>
                  <a:pt x="310586" y="372196"/>
                  <a:pt x="262583" y="364143"/>
                </a:cubicBezTo>
                <a:cubicBezTo>
                  <a:pt x="214581" y="356091"/>
                  <a:pt x="182201" y="310612"/>
                  <a:pt x="190253" y="262610"/>
                </a:cubicBezTo>
                <a:lnTo>
                  <a:pt x="225525" y="277127"/>
                </a:lnTo>
                <a:cubicBezTo>
                  <a:pt x="225497" y="287561"/>
                  <a:pt x="228644" y="297740"/>
                  <a:pt x="234542" y="306359"/>
                </a:cubicBezTo>
                <a:cubicBezTo>
                  <a:pt x="250646" y="329892"/>
                  <a:pt x="282771" y="335932"/>
                  <a:pt x="306304" y="319827"/>
                </a:cubicBezTo>
                <a:cubicBezTo>
                  <a:pt x="329838" y="303722"/>
                  <a:pt x="335877" y="271598"/>
                  <a:pt x="319772" y="248064"/>
                </a:cubicBezTo>
                <a:cubicBezTo>
                  <a:pt x="303667" y="224531"/>
                  <a:pt x="271543" y="218492"/>
                  <a:pt x="248010" y="234596"/>
                </a:cubicBezTo>
                <a:lnTo>
                  <a:pt x="226773" y="182681"/>
                </a:lnTo>
                <a:close/>
                <a:moveTo>
                  <a:pt x="277156" y="0"/>
                </a:moveTo>
                <a:lnTo>
                  <a:pt x="277185" y="0"/>
                </a:lnTo>
                <a:lnTo>
                  <a:pt x="277156" y="6"/>
                </a:lnTo>
                <a:close/>
                <a:moveTo>
                  <a:pt x="88095" y="0"/>
                </a:moveTo>
                <a:cubicBezTo>
                  <a:pt x="93199" y="0"/>
                  <a:pt x="98246" y="425"/>
                  <a:pt x="103264" y="1304"/>
                </a:cubicBezTo>
                <a:cubicBezTo>
                  <a:pt x="139139" y="7450"/>
                  <a:pt x="166177" y="34552"/>
                  <a:pt x="173997" y="67899"/>
                </a:cubicBezTo>
                <a:lnTo>
                  <a:pt x="175026" y="102757"/>
                </a:lnTo>
                <a:lnTo>
                  <a:pt x="182654" y="105900"/>
                </a:lnTo>
                <a:lnTo>
                  <a:pt x="190083" y="101761"/>
                </a:lnTo>
                <a:cubicBezTo>
                  <a:pt x="189374" y="97252"/>
                  <a:pt x="189034" y="92716"/>
                  <a:pt x="189034" y="88151"/>
                </a:cubicBezTo>
                <a:cubicBezTo>
                  <a:pt x="189034" y="51639"/>
                  <a:pt x="211235" y="20310"/>
                  <a:pt x="242873" y="6928"/>
                </a:cubicBezTo>
                <a:lnTo>
                  <a:pt x="277156" y="6"/>
                </a:lnTo>
                <a:lnTo>
                  <a:pt x="277156" y="142"/>
                </a:lnTo>
                <a:cubicBezTo>
                  <a:pt x="282062" y="142"/>
                  <a:pt x="286938" y="539"/>
                  <a:pt x="291758" y="1361"/>
                </a:cubicBezTo>
                <a:cubicBezTo>
                  <a:pt x="339789" y="9413"/>
                  <a:pt x="372169" y="54892"/>
                  <a:pt x="364088" y="102895"/>
                </a:cubicBezTo>
                <a:cubicBezTo>
                  <a:pt x="356036" y="150926"/>
                  <a:pt x="310557" y="183305"/>
                  <a:pt x="262554" y="175225"/>
                </a:cubicBezTo>
                <a:lnTo>
                  <a:pt x="277100" y="139953"/>
                </a:lnTo>
                <a:cubicBezTo>
                  <a:pt x="287534" y="139981"/>
                  <a:pt x="297713" y="136834"/>
                  <a:pt x="306332" y="130936"/>
                </a:cubicBezTo>
                <a:cubicBezTo>
                  <a:pt x="329865" y="114832"/>
                  <a:pt x="335905" y="82707"/>
                  <a:pt x="319800" y="59174"/>
                </a:cubicBezTo>
                <a:cubicBezTo>
                  <a:pt x="303695" y="35640"/>
                  <a:pt x="271571" y="29601"/>
                  <a:pt x="248037" y="45706"/>
                </a:cubicBezTo>
                <a:cubicBezTo>
                  <a:pt x="224504" y="61811"/>
                  <a:pt x="218465" y="93935"/>
                  <a:pt x="234569" y="117469"/>
                </a:cubicBezTo>
                <a:lnTo>
                  <a:pt x="182654" y="138564"/>
                </a:lnTo>
                <a:lnTo>
                  <a:pt x="130824" y="117213"/>
                </a:lnTo>
                <a:lnTo>
                  <a:pt x="139780" y="88250"/>
                </a:lnTo>
                <a:lnTo>
                  <a:pt x="130767" y="59032"/>
                </a:lnTo>
                <a:cubicBezTo>
                  <a:pt x="114663" y="35499"/>
                  <a:pt x="82538" y="29459"/>
                  <a:pt x="59005" y="45564"/>
                </a:cubicBezTo>
                <a:cubicBezTo>
                  <a:pt x="35471" y="61669"/>
                  <a:pt x="29432" y="93793"/>
                  <a:pt x="45537" y="117327"/>
                </a:cubicBezTo>
                <a:cubicBezTo>
                  <a:pt x="61642" y="140860"/>
                  <a:pt x="93766" y="146899"/>
                  <a:pt x="117299" y="130795"/>
                </a:cubicBezTo>
                <a:lnTo>
                  <a:pt x="138508" y="182682"/>
                </a:lnTo>
                <a:lnTo>
                  <a:pt x="117101" y="234512"/>
                </a:lnTo>
                <a:cubicBezTo>
                  <a:pt x="113585" y="232102"/>
                  <a:pt x="109786" y="230117"/>
                  <a:pt x="105760" y="228671"/>
                </a:cubicBezTo>
                <a:cubicBezTo>
                  <a:pt x="100117" y="226629"/>
                  <a:pt x="94163" y="225552"/>
                  <a:pt x="88180" y="225552"/>
                </a:cubicBezTo>
                <a:lnTo>
                  <a:pt x="88180" y="225551"/>
                </a:lnTo>
                <a:lnTo>
                  <a:pt x="58948" y="234568"/>
                </a:lnTo>
                <a:cubicBezTo>
                  <a:pt x="35415" y="250673"/>
                  <a:pt x="29376" y="282797"/>
                  <a:pt x="45480" y="306330"/>
                </a:cubicBezTo>
                <a:cubicBezTo>
                  <a:pt x="61585" y="329864"/>
                  <a:pt x="93710" y="335903"/>
                  <a:pt x="117243" y="319798"/>
                </a:cubicBezTo>
                <a:cubicBezTo>
                  <a:pt x="140776" y="303694"/>
                  <a:pt x="146816" y="271569"/>
                  <a:pt x="130711" y="248036"/>
                </a:cubicBezTo>
                <a:lnTo>
                  <a:pt x="182655" y="226799"/>
                </a:lnTo>
                <a:lnTo>
                  <a:pt x="234456" y="248149"/>
                </a:lnTo>
                <a:cubicBezTo>
                  <a:pt x="228672" y="256712"/>
                  <a:pt x="225553" y="266806"/>
                  <a:pt x="225525" y="277126"/>
                </a:cubicBezTo>
                <a:lnTo>
                  <a:pt x="182655" y="259462"/>
                </a:lnTo>
                <a:lnTo>
                  <a:pt x="175226" y="263602"/>
                </a:lnTo>
                <a:cubicBezTo>
                  <a:pt x="176672" y="272902"/>
                  <a:pt x="176615" y="282400"/>
                  <a:pt x="175056" y="291700"/>
                </a:cubicBezTo>
                <a:cubicBezTo>
                  <a:pt x="167032" y="339674"/>
                  <a:pt x="121609" y="372054"/>
                  <a:pt x="73635" y="364030"/>
                </a:cubicBezTo>
                <a:cubicBezTo>
                  <a:pt x="25661" y="356006"/>
                  <a:pt x="-6718" y="310583"/>
                  <a:pt x="1306" y="262609"/>
                </a:cubicBezTo>
                <a:cubicBezTo>
                  <a:pt x="7324" y="226629"/>
                  <a:pt x="34378" y="199420"/>
                  <a:pt x="67768" y="191450"/>
                </a:cubicBezTo>
                <a:lnTo>
                  <a:pt x="102704" y="190281"/>
                </a:lnTo>
                <a:lnTo>
                  <a:pt x="105845" y="182653"/>
                </a:lnTo>
                <a:lnTo>
                  <a:pt x="101705" y="175253"/>
                </a:lnTo>
                <a:cubicBezTo>
                  <a:pt x="97197" y="175962"/>
                  <a:pt x="92660" y="176302"/>
                  <a:pt x="88095" y="176302"/>
                </a:cubicBezTo>
                <a:cubicBezTo>
                  <a:pt x="39469" y="176274"/>
                  <a:pt x="29" y="136862"/>
                  <a:pt x="1" y="88208"/>
                </a:cubicBezTo>
                <a:cubicBezTo>
                  <a:pt x="-27" y="39525"/>
                  <a:pt x="39412" y="28"/>
                  <a:pt x="88095" y="0"/>
                </a:cubicBezTo>
                <a:close/>
              </a:path>
            </a:pathLst>
          </a:custGeom>
          <a:solidFill>
            <a:schemeClr val="bg1"/>
          </a:solidFill>
        </p:spPr>
        <p:txBody>
          <a:bodyPr wrap="square">
            <a:noAutofit/>
          </a:bodyPr>
          <a:lstStyle>
            <a:lvl1pPr>
              <a:defRPr sz="100">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8" name="Text Placeholder 3">
            <a:extLst>
              <a:ext uri="{FF2B5EF4-FFF2-40B4-BE49-F238E27FC236}">
                <a16:creationId xmlns:a16="http://schemas.microsoft.com/office/drawing/2014/main" id="{75B7485A-AD55-E683-3486-78A2DBA1BA7E}"/>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solidFill>
                  <a:schemeClr val="bg1"/>
                </a:solidFill>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11" name="Text Placeholder 3">
            <a:extLst>
              <a:ext uri="{FF2B5EF4-FFF2-40B4-BE49-F238E27FC236}">
                <a16:creationId xmlns:a16="http://schemas.microsoft.com/office/drawing/2014/main" id="{010248EB-08DC-67F8-0BAA-D525554D2B7A}"/>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b="0" i="0">
                <a:solidFill>
                  <a:schemeClr val="bg1"/>
                </a:solidFill>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DB91F917-4553-0B4C-86D1-30F17B222285}" type="slidenum">
              <a:rPr lang="en-US" smtClean="0"/>
              <a:t>‹#›</a:t>
            </a:fld>
            <a:endParaRPr lang="en-US"/>
          </a:p>
        </p:txBody>
      </p:sp>
    </p:spTree>
    <p:extLst>
      <p:ext uri="{BB962C8B-B14F-4D97-AF65-F5344CB8AC3E}">
        <p14:creationId xmlns:p14="http://schemas.microsoft.com/office/powerpoint/2010/main" val="1476411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Pale Navy">
    <p:bg>
      <p:bgPr>
        <a:solidFill>
          <a:srgbClr val="E1EDFF"/>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0771293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rgbClr val="5009B5"/>
                </a:solidFill>
              </a:defRPr>
            </a:lvl1pPr>
          </a:lstStyle>
          <a:p>
            <a:r>
              <a:rPr lang="en-US"/>
              <a:t>Hero statement </a:t>
            </a:r>
            <a:br>
              <a:rPr lang="en-US"/>
            </a:br>
            <a:r>
              <a:rPr lang="en-US"/>
              <a:t>or divider title here</a:t>
            </a:r>
          </a:p>
        </p:txBody>
      </p:sp>
      <p:sp>
        <p:nvSpPr>
          <p:cNvPr id="18" name="TextBox 17">
            <a:extLst>
              <a:ext uri="{FF2B5EF4-FFF2-40B4-BE49-F238E27FC236}">
                <a16:creationId xmlns:a16="http://schemas.microsoft.com/office/drawing/2014/main" id="{5171EC9A-3FCB-D640-AF36-C3E697D172B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Elevance Sans" pitchFamily="2" charset="77"/>
              </a:rPr>
              <a:pPr algn="r"/>
              <a:t>‹#›</a:t>
            </a:fld>
            <a:endParaRPr lang="en-US" sz="900" b="0" i="0">
              <a:solidFill>
                <a:schemeClr val="tx2"/>
              </a:solidFill>
              <a:latin typeface="Elevance Sans" pitchFamily="2" charset="77"/>
            </a:endParaRPr>
          </a:p>
        </p:txBody>
      </p:sp>
      <p:pic>
        <p:nvPicPr>
          <p:cNvPr id="7" name="Graphic 6">
            <a:extLst>
              <a:ext uri="{FF2B5EF4-FFF2-40B4-BE49-F238E27FC236}">
                <a16:creationId xmlns:a16="http://schemas.microsoft.com/office/drawing/2014/main" id="{AB06DF94-869D-D84E-B441-85669CD6729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8" name="Text Placeholder 3">
            <a:extLst>
              <a:ext uri="{FF2B5EF4-FFF2-40B4-BE49-F238E27FC236}">
                <a16:creationId xmlns:a16="http://schemas.microsoft.com/office/drawing/2014/main" id="{D985D77B-FC1A-135C-61E1-EB34E0EBADF9}"/>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33232014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Purple">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765841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a:t>Hero statement </a:t>
            </a:r>
            <a:br>
              <a:rPr lang="en-US"/>
            </a:br>
            <a:r>
              <a:rPr lang="en-US"/>
              <a:t>or divider title her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bg1"/>
                </a:solidFill>
                <a:latin typeface="Elevance Sans" pitchFamily="2" charset="77"/>
              </a:rPr>
              <a:pPr algn="r"/>
              <a:t>‹#›</a:t>
            </a:fld>
            <a:endParaRPr lang="en-US" sz="900" b="0" i="0">
              <a:solidFill>
                <a:schemeClr val="bg1"/>
              </a:solidFill>
              <a:latin typeface="Elevance Sans" pitchFamily="2" charset="77"/>
            </a:endParaRPr>
          </a:p>
        </p:txBody>
      </p:sp>
      <p:pic>
        <p:nvPicPr>
          <p:cNvPr id="8" name="Graphic 7">
            <a:extLst>
              <a:ext uri="{FF2B5EF4-FFF2-40B4-BE49-F238E27FC236}">
                <a16:creationId xmlns:a16="http://schemas.microsoft.com/office/drawing/2014/main" id="{22C9D7E0-B66C-364D-998B-7DC36AC05D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7" name="Text Placeholder 3">
            <a:extLst>
              <a:ext uri="{FF2B5EF4-FFF2-40B4-BE49-F238E27FC236}">
                <a16:creationId xmlns:a16="http://schemas.microsoft.com/office/drawing/2014/main" id="{6694B2BC-0C99-D5BD-A22F-9EA5638BFFF2}"/>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solidFill>
                  <a:schemeClr val="bg1"/>
                </a:solidFill>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24046448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6714935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Arc 8">
            <a:extLst>
              <a:ext uri="{FF2B5EF4-FFF2-40B4-BE49-F238E27FC236}">
                <a16:creationId xmlns:a16="http://schemas.microsoft.com/office/drawing/2014/main" id="{3CC3D56B-1DDC-7B46-ACFF-189DADCC9727}"/>
              </a:ext>
            </a:extLst>
          </p:cNvPr>
          <p:cNvSpPr/>
          <p:nvPr/>
        </p:nvSpPr>
        <p:spPr>
          <a:xfrm rot="10800000">
            <a:off x="6817543" y="-7579128"/>
            <a:ext cx="11020827" cy="11020826"/>
          </a:xfrm>
          <a:prstGeom prst="arc">
            <a:avLst>
              <a:gd name="adj1" fmla="val 16200000"/>
              <a:gd name="adj2" fmla="val 20324932"/>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a:solidFill>
                <a:schemeClr val="lt1"/>
              </a:solidFill>
              <a:latin typeface="Elevance Sans" pitchFamily="2" charset="77"/>
            </a:endParaRPr>
          </a:p>
        </p:txBody>
      </p:sp>
      <p:sp>
        <p:nvSpPr>
          <p:cNvPr id="10" name="Arc 9">
            <a:extLst>
              <a:ext uri="{FF2B5EF4-FFF2-40B4-BE49-F238E27FC236}">
                <a16:creationId xmlns:a16="http://schemas.microsoft.com/office/drawing/2014/main" id="{E964816C-5828-F543-8E86-D7C70C76ED78}"/>
              </a:ext>
            </a:extLst>
          </p:cNvPr>
          <p:cNvSpPr/>
          <p:nvPr/>
        </p:nvSpPr>
        <p:spPr>
          <a:xfrm rot="16200000">
            <a:off x="6817543" y="3441700"/>
            <a:ext cx="11020826" cy="11020827"/>
          </a:xfrm>
          <a:prstGeom prst="arc">
            <a:avLst>
              <a:gd name="adj1" fmla="val 17502107"/>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a:solidFill>
                <a:schemeClr val="lt1"/>
              </a:solidFill>
              <a:latin typeface="Elevance Sans" pitchFamily="2" charset="77"/>
            </a:endParaRPr>
          </a:p>
        </p:txBody>
      </p:sp>
      <p:sp>
        <p:nvSpPr>
          <p:cNvPr id="11" name="Arc 10">
            <a:extLst>
              <a:ext uri="{FF2B5EF4-FFF2-40B4-BE49-F238E27FC236}">
                <a16:creationId xmlns:a16="http://schemas.microsoft.com/office/drawing/2014/main" id="{332B99F5-3B29-CC40-B944-F50BA0B0F19A}"/>
              </a:ext>
            </a:extLst>
          </p:cNvPr>
          <p:cNvSpPr/>
          <p:nvPr/>
        </p:nvSpPr>
        <p:spPr>
          <a:xfrm rot="10800000" flipH="1">
            <a:off x="-5556492" y="-7579128"/>
            <a:ext cx="11020827" cy="11020826"/>
          </a:xfrm>
          <a:prstGeom prst="arc">
            <a:avLst>
              <a:gd name="adj1" fmla="val 16200000"/>
              <a:gd name="adj2" fmla="val 20316416"/>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a:solidFill>
                <a:schemeClr val="lt1"/>
              </a:solidFill>
              <a:latin typeface="Elevance Sans" pitchFamily="2" charset="77"/>
            </a:endParaRPr>
          </a:p>
        </p:txBody>
      </p:sp>
      <p:sp>
        <p:nvSpPr>
          <p:cNvPr id="12" name="Arc 11">
            <a:extLst>
              <a:ext uri="{FF2B5EF4-FFF2-40B4-BE49-F238E27FC236}">
                <a16:creationId xmlns:a16="http://schemas.microsoft.com/office/drawing/2014/main" id="{2B2063DF-792C-F94D-98E4-7344283EDFAE}"/>
              </a:ext>
            </a:extLst>
          </p:cNvPr>
          <p:cNvSpPr/>
          <p:nvPr/>
        </p:nvSpPr>
        <p:spPr>
          <a:xfrm rot="5400000" flipH="1">
            <a:off x="-5556492" y="3441700"/>
            <a:ext cx="11020826" cy="11020827"/>
          </a:xfrm>
          <a:prstGeom prst="arc">
            <a:avLst>
              <a:gd name="adj1" fmla="val 17492116"/>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a:solidFill>
                <a:schemeClr val="lt1"/>
              </a:solidFill>
              <a:latin typeface="Elevance Sans" pitchFamily="2" charset="77"/>
            </a:endParaRPr>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a:t>Hero statement </a:t>
            </a:r>
            <a:br>
              <a:rPr lang="en-US"/>
            </a:br>
            <a:r>
              <a:rPr lang="en-US"/>
              <a:t>or divider title her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bg1"/>
                </a:solidFill>
                <a:latin typeface="Elevance Sans" pitchFamily="2" charset="77"/>
              </a:rPr>
              <a:pPr algn="r"/>
              <a:t>‹#›</a:t>
            </a:fld>
            <a:endParaRPr lang="en-US" sz="900" b="0" i="0">
              <a:solidFill>
                <a:schemeClr val="bg1"/>
              </a:solidFill>
              <a:latin typeface="Elevance Sans" pitchFamily="2" charset="77"/>
            </a:endParaRPr>
          </a:p>
        </p:txBody>
      </p:sp>
      <p:pic>
        <p:nvPicPr>
          <p:cNvPr id="8" name="Graphic 7">
            <a:extLst>
              <a:ext uri="{FF2B5EF4-FFF2-40B4-BE49-F238E27FC236}">
                <a16:creationId xmlns:a16="http://schemas.microsoft.com/office/drawing/2014/main" id="{22C9D7E0-B66C-364D-998B-7DC36AC05D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13" name="Text Placeholder 3">
            <a:extLst>
              <a:ext uri="{FF2B5EF4-FFF2-40B4-BE49-F238E27FC236}">
                <a16:creationId xmlns:a16="http://schemas.microsoft.com/office/drawing/2014/main" id="{5C595332-B206-6F6B-3548-218057E28700}"/>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solidFill>
                  <a:schemeClr val="bg1"/>
                </a:solidFill>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32133566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424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20EC642-4CC9-DC4D-BE90-46572834EF99}"/>
              </a:ext>
            </a:extLst>
          </p:cNvPr>
          <p:cNvSpPr/>
          <p:nvPr/>
        </p:nvSpPr>
        <p:spPr>
          <a:xfrm rot="10800000">
            <a:off x="7700406" y="-5517141"/>
            <a:ext cx="8983187" cy="8983187"/>
          </a:xfrm>
          <a:prstGeom prst="arc">
            <a:avLst>
              <a:gd name="adj1" fmla="val 16200000"/>
              <a:gd name="adj2" fmla="val 20840015"/>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a:solidFill>
                <a:schemeClr val="lt1"/>
              </a:solidFill>
              <a:latin typeface="Elevance Sans" pitchFamily="2" charset="77"/>
            </a:endParaRPr>
          </a:p>
        </p:txBody>
      </p:sp>
      <p:cxnSp>
        <p:nvCxnSpPr>
          <p:cNvPr id="8" name="Straight Connector 7">
            <a:extLst>
              <a:ext uri="{FF2B5EF4-FFF2-40B4-BE49-F238E27FC236}">
                <a16:creationId xmlns:a16="http://schemas.microsoft.com/office/drawing/2014/main" id="{FA9F3445-6864-B14F-A29E-23391F292240}"/>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0635C588-6C55-2E43-BC88-265490E0DB15}"/>
              </a:ext>
            </a:extLst>
          </p:cNvPr>
          <p:cNvSpPr/>
          <p:nvPr/>
        </p:nvSpPr>
        <p:spPr>
          <a:xfrm rot="16200000">
            <a:off x="7700406" y="3466048"/>
            <a:ext cx="8983187" cy="8983187"/>
          </a:xfrm>
          <a:prstGeom prst="arc">
            <a:avLst>
              <a:gd name="adj1" fmla="val 17017882"/>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a:solidFill>
                <a:schemeClr val="lt1"/>
              </a:solidFill>
              <a:latin typeface="Elevance Sans" pitchFamily="2" charset="77"/>
            </a:endParaRPr>
          </a:p>
        </p:txBody>
      </p:sp>
      <p:sp>
        <p:nvSpPr>
          <p:cNvPr id="11" name="Title 1">
            <a:extLst>
              <a:ext uri="{FF2B5EF4-FFF2-40B4-BE49-F238E27FC236}">
                <a16:creationId xmlns:a16="http://schemas.microsoft.com/office/drawing/2014/main" id="{1390B095-2D96-6E43-929A-E80EF478568E}"/>
              </a:ext>
            </a:extLst>
          </p:cNvPr>
          <p:cNvSpPr>
            <a:spLocks noGrp="1"/>
          </p:cNvSpPr>
          <p:nvPr>
            <p:ph type="ctrTitle" hasCustomPrompt="1"/>
          </p:nvPr>
        </p:nvSpPr>
        <p:spPr>
          <a:xfrm>
            <a:off x="415088" y="1503979"/>
            <a:ext cx="8349500" cy="1567689"/>
          </a:xfrm>
        </p:spPr>
        <p:txBody>
          <a:bodyPr vert="horz" anchor="b" anchorCtr="0"/>
          <a:lstStyle>
            <a:lvl1pPr algn="l">
              <a:defRPr sz="5200">
                <a:solidFill>
                  <a:schemeClr val="bg1"/>
                </a:solidFill>
              </a:defRPr>
            </a:lvl1pPr>
          </a:lstStyle>
          <a:p>
            <a:r>
              <a:rPr lang="en-US"/>
              <a:t>Click to add  </a:t>
            </a:r>
            <a:br>
              <a:rPr lang="en-US"/>
            </a:br>
            <a:r>
              <a:rPr lang="en-US"/>
              <a:t>presentation title</a:t>
            </a:r>
          </a:p>
        </p:txBody>
      </p:sp>
      <p:sp>
        <p:nvSpPr>
          <p:cNvPr id="12" name="Subtitle 2">
            <a:extLst>
              <a:ext uri="{FF2B5EF4-FFF2-40B4-BE49-F238E27FC236}">
                <a16:creationId xmlns:a16="http://schemas.microsoft.com/office/drawing/2014/main" id="{BBE8C3BB-E299-1045-A7F2-6999E3919628}"/>
              </a:ext>
            </a:extLst>
          </p:cNvPr>
          <p:cNvSpPr>
            <a:spLocks noGrp="1"/>
          </p:cNvSpPr>
          <p:nvPr>
            <p:ph type="subTitle" idx="1" hasCustomPrompt="1"/>
          </p:nvPr>
        </p:nvSpPr>
        <p:spPr>
          <a:xfrm>
            <a:off x="415088" y="4517136"/>
            <a:ext cx="5638800" cy="228600"/>
          </a:xfr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3" name="Text Placeholder 11">
            <a:extLst>
              <a:ext uri="{FF2B5EF4-FFF2-40B4-BE49-F238E27FC236}">
                <a16:creationId xmlns:a16="http://schemas.microsoft.com/office/drawing/2014/main" id="{50FC71C6-D550-E544-AF63-6785F09DCCB1}"/>
              </a:ext>
            </a:extLst>
          </p:cNvPr>
          <p:cNvSpPr>
            <a:spLocks noGrp="1"/>
          </p:cNvSpPr>
          <p:nvPr>
            <p:ph type="body" sz="quarter" idx="11" hasCustomPrompt="1"/>
          </p:nvPr>
        </p:nvSpPr>
        <p:spPr>
          <a:xfrm>
            <a:off x="415088" y="4758997"/>
            <a:ext cx="5638800" cy="224536"/>
          </a:xfrm>
        </p:spPr>
        <p:txBody>
          <a:bodyPr vert="horz" lIns="0" tIns="0" rIns="0" bIns="0" rtlCol="0">
            <a:noAutofit/>
          </a:bodyPr>
          <a:lstStyle>
            <a:lvl1pPr>
              <a:defRPr lang="en-US" sz="1800" b="0" i="0" dirty="0">
                <a:solidFill>
                  <a:schemeClr val="bg1"/>
                </a:solidFill>
                <a:latin typeface="Elevance Sans" pitchFamily="2" charset="77"/>
              </a:defRPr>
            </a:lvl1pPr>
          </a:lstStyle>
          <a:p>
            <a:pPr lvl="0"/>
            <a:r>
              <a:rPr lang="en-US"/>
              <a:t>Click to add date</a:t>
            </a:r>
          </a:p>
        </p:txBody>
      </p:sp>
      <p:pic>
        <p:nvPicPr>
          <p:cNvPr id="3" name="Graphic 2">
            <a:extLst>
              <a:ext uri="{FF2B5EF4-FFF2-40B4-BE49-F238E27FC236}">
                <a16:creationId xmlns:a16="http://schemas.microsoft.com/office/drawing/2014/main" id="{DD29EB13-6643-4A96-1F3D-34FE38CF341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6061" y="578755"/>
            <a:ext cx="1786364" cy="463576"/>
          </a:xfrm>
          <a:prstGeom prst="rect">
            <a:avLst/>
          </a:prstGeom>
        </p:spPr>
      </p:pic>
    </p:spTree>
    <p:extLst>
      <p:ext uri="{BB962C8B-B14F-4D97-AF65-F5344CB8AC3E}">
        <p14:creationId xmlns:p14="http://schemas.microsoft.com/office/powerpoint/2010/main" val="3962716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rgbClr val="5009B5"/>
                </a:solidFill>
                <a:latin typeface="+mj-lt"/>
              </a:defRPr>
            </a:lvl1pPr>
          </a:lstStyle>
          <a:p>
            <a:pPr lvl="0"/>
            <a:r>
              <a:rPr lang="en-US"/>
              <a:t>Click to edit master text styles</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2"/>
          </a:solidFill>
          <a:ln w="15329" cap="flat">
            <a:noFill/>
            <a:prstDash val="solid"/>
            <a:miter/>
          </a:ln>
        </p:spPr>
        <p:txBody>
          <a:bodyPr rtlCol="0" anchor="ctr"/>
          <a:lstStyle/>
          <a:p>
            <a:endParaRPr lang="en-US" b="0" i="0">
              <a:solidFill>
                <a:schemeClr val="accent5"/>
              </a:solidFill>
              <a:latin typeface="Elevance Sans" pitchFamily="2" charset="77"/>
            </a:endParaRPr>
          </a:p>
        </p:txBody>
      </p:sp>
      <p:sp>
        <p:nvSpPr>
          <p:cNvPr id="6" name="Text Placeholder 3">
            <a:extLst>
              <a:ext uri="{FF2B5EF4-FFF2-40B4-BE49-F238E27FC236}">
                <a16:creationId xmlns:a16="http://schemas.microsoft.com/office/drawing/2014/main" id="{6123F7A6-E84B-EBCA-8089-04AD763E7833}"/>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solidFill>
                  <a:schemeClr val="accent1"/>
                </a:solidFill>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14748317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Dark Purple">
    <p:bg>
      <p:bgPr>
        <a:solidFill>
          <a:srgbClr val="2B1B49"/>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a:t>Click to edit master text styles</a:t>
            </a:r>
          </a:p>
        </p:txBody>
      </p:sp>
      <p:sp>
        <p:nvSpPr>
          <p:cNvPr id="10" name="TextBox 9">
            <a:extLst>
              <a:ext uri="{FF2B5EF4-FFF2-40B4-BE49-F238E27FC236}">
                <a16:creationId xmlns:a16="http://schemas.microsoft.com/office/drawing/2014/main" id="{5BEE62C7-B07C-3340-AA0C-134CBE66431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bg1"/>
                </a:solidFill>
                <a:latin typeface="Elevance Sans" pitchFamily="2" charset="77"/>
              </a:rPr>
              <a:pPr algn="r"/>
              <a:t>‹#›</a:t>
            </a:fld>
            <a:endParaRPr lang="en-US" sz="900" b="0" i="0">
              <a:solidFill>
                <a:schemeClr val="bg1"/>
              </a:solidFill>
              <a:latin typeface="Elevance Sans" pitchFamily="2" charset="77"/>
            </a:endParaRP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rgbClr val="794CFF"/>
          </a:solidFill>
          <a:ln w="15329" cap="flat">
            <a:noFill/>
            <a:prstDash val="solid"/>
            <a:miter/>
          </a:ln>
        </p:spPr>
        <p:txBody>
          <a:bodyPr rtlCol="0" anchor="ctr"/>
          <a:lstStyle/>
          <a:p>
            <a:endParaRPr lang="en-US" b="0" i="0">
              <a:latin typeface="Elevance Sans" pitchFamily="2" charset="77"/>
            </a:endParaRPr>
          </a:p>
        </p:txBody>
      </p:sp>
      <p:pic>
        <p:nvPicPr>
          <p:cNvPr id="9" name="Graphic 8">
            <a:extLst>
              <a:ext uri="{FF2B5EF4-FFF2-40B4-BE49-F238E27FC236}">
                <a16:creationId xmlns:a16="http://schemas.microsoft.com/office/drawing/2014/main" id="{80B1E988-E9EB-CD4B-BB13-EB7636E3D89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11" name="Text Placeholder 3">
            <a:extLst>
              <a:ext uri="{FF2B5EF4-FFF2-40B4-BE49-F238E27FC236}">
                <a16:creationId xmlns:a16="http://schemas.microsoft.com/office/drawing/2014/main" id="{8A0E84BE-0926-3502-CA50-E29E674DCBDE}"/>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solidFill>
                  <a:schemeClr val="bg1"/>
                </a:solidFill>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42213181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Purple">
    <p:bg>
      <p:bgPr>
        <a:solidFill>
          <a:srgbClr val="5009B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a:t>Click to edit master text styles</a:t>
            </a:r>
          </a:p>
        </p:txBody>
      </p:sp>
      <p:sp>
        <p:nvSpPr>
          <p:cNvPr id="10" name="TextBox 9">
            <a:extLst>
              <a:ext uri="{FF2B5EF4-FFF2-40B4-BE49-F238E27FC236}">
                <a16:creationId xmlns:a16="http://schemas.microsoft.com/office/drawing/2014/main" id="{5BEE62C7-B07C-3340-AA0C-134CBE66431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bg1"/>
                </a:solidFill>
                <a:latin typeface="Elevance Sans" pitchFamily="2" charset="77"/>
              </a:rPr>
              <a:pPr algn="r"/>
              <a:t>‹#›</a:t>
            </a:fld>
            <a:endParaRPr lang="en-US" sz="900" b="0" i="0">
              <a:solidFill>
                <a:schemeClr val="bg1"/>
              </a:solidFill>
              <a:latin typeface="Elevance Sans" pitchFamily="2" charset="77"/>
            </a:endParaRP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bg1"/>
          </a:solidFill>
          <a:ln w="15329" cap="flat">
            <a:noFill/>
            <a:prstDash val="solid"/>
            <a:miter/>
          </a:ln>
        </p:spPr>
        <p:txBody>
          <a:bodyPr rtlCol="0" anchor="ctr"/>
          <a:lstStyle/>
          <a:p>
            <a:endParaRPr lang="en-US" b="0" i="0">
              <a:latin typeface="Elevance Sans" pitchFamily="2" charset="77"/>
            </a:endParaRPr>
          </a:p>
        </p:txBody>
      </p:sp>
      <p:pic>
        <p:nvPicPr>
          <p:cNvPr id="9" name="Graphic 8">
            <a:extLst>
              <a:ext uri="{FF2B5EF4-FFF2-40B4-BE49-F238E27FC236}">
                <a16:creationId xmlns:a16="http://schemas.microsoft.com/office/drawing/2014/main" id="{A2275E4F-1DD8-BD4C-839F-E0B290CCE1F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11" name="Text Placeholder 3">
            <a:extLst>
              <a:ext uri="{FF2B5EF4-FFF2-40B4-BE49-F238E27FC236}">
                <a16:creationId xmlns:a16="http://schemas.microsoft.com/office/drawing/2014/main" id="{F31779F3-C469-2636-CCD6-86F5AF43239A}"/>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solidFill>
                  <a:schemeClr val="bg1"/>
                </a:solidFill>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11122258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Elevance Sans" pitchFamily="2" charset="77"/>
            </a:endParaRPr>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2297291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a:t>Click to edit master title style</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Elevance Sans" pitchFamily="2" charset="77"/>
              </a:rPr>
              <a:pPr algn="r"/>
              <a:t>‹#›</a:t>
            </a:fld>
            <a:endParaRPr lang="en-US" sz="900" b="0" i="0">
              <a:solidFill>
                <a:schemeClr val="tx2"/>
              </a:solidFill>
              <a:latin typeface="Elevance Sans" pitchFamily="2" charset="77"/>
            </a:endParaRPr>
          </a:p>
        </p:txBody>
      </p:sp>
      <p:sp>
        <p:nvSpPr>
          <p:cNvPr id="9" name="Content Placeholder 2">
            <a:extLst>
              <a:ext uri="{FF2B5EF4-FFF2-40B4-BE49-F238E27FC236}">
                <a16:creationId xmlns:a16="http://schemas.microsoft.com/office/drawing/2014/main" id="{4D13FCD8-11F4-9046-9E35-10C205A4D8EF}"/>
              </a:ext>
            </a:extLst>
          </p:cNvPr>
          <p:cNvSpPr>
            <a:spLocks noGrp="1"/>
          </p:cNvSpPr>
          <p:nvPr>
            <p:ph idx="1" hasCustomPrompt="1"/>
          </p:nvPr>
        </p:nvSpPr>
        <p:spPr>
          <a:xfrm>
            <a:off x="457200" y="1694048"/>
            <a:ext cx="11292840" cy="4313052"/>
          </a:xfrm>
        </p:spPr>
        <p:txBody>
          <a:bodyPr vert="horz" lIns="0" tIns="0" rIns="0" bIns="0" rtlCol="0">
            <a:noAutofit/>
          </a:bodyPr>
          <a:lstStyle>
            <a:lvl1pPr>
              <a:defRPr lang="en-US" dirty="0"/>
            </a:lvl1pPr>
            <a:lvl2pPr>
              <a:defRPr lang="en-US" b="0" i="0" dirty="0">
                <a:latin typeface="Elevance Sans" pitchFamily="2" charset="77"/>
              </a:defRPr>
            </a:lvl2pPr>
            <a:lvl3pPr>
              <a:defRPr lang="en-US" b="0" i="0" dirty="0">
                <a:latin typeface="Elevance Sans" pitchFamily="2" charset="77"/>
              </a:defRPr>
            </a:lvl3pPr>
            <a:lvl4pPr>
              <a:defRPr lang="en-US" b="0" i="0" dirty="0">
                <a:latin typeface="Elevance Sans" pitchFamily="2" charset="77"/>
              </a:defRPr>
            </a:lvl4pPr>
            <a:lvl5pPr>
              <a:defRPr lang="en-US" b="0" i="0" dirty="0">
                <a:latin typeface="Elevance Sans" pitchFamily="2" charset="77"/>
              </a:defRPr>
            </a:lvl5pPr>
            <a:lvl6pPr>
              <a:defRPr b="0" i="0">
                <a:latin typeface="Elevance Sans" pitchFamily="2"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2" name="Text Placeholder 3">
            <a:extLst>
              <a:ext uri="{FF2B5EF4-FFF2-40B4-BE49-F238E27FC236}">
                <a16:creationId xmlns:a16="http://schemas.microsoft.com/office/drawing/2014/main" id="{62D96444-6307-6846-757F-F0E3C5533CC3}"/>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1205484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r 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4D345-2197-6D4C-8F0D-3BC6B2AB1F25}"/>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Elevance Sans" pitchFamily="2" charset="77"/>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63532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a:t>Click to edit master title style</a:t>
            </a:r>
          </a:p>
        </p:txBody>
      </p:sp>
      <p:sp>
        <p:nvSpPr>
          <p:cNvPr id="9" name="Content Placeholder 5">
            <a:extLst>
              <a:ext uri="{FF2B5EF4-FFF2-40B4-BE49-F238E27FC236}">
                <a16:creationId xmlns:a16="http://schemas.microsoft.com/office/drawing/2014/main" id="{414C1B55-FB49-1B45-80DF-F67865047AC0}"/>
              </a:ext>
            </a:extLst>
          </p:cNvPr>
          <p:cNvSpPr>
            <a:spLocks noGrp="1"/>
          </p:cNvSpPr>
          <p:nvPr>
            <p:ph sz="quarter" idx="11" hasCustomPrompt="1"/>
          </p:nvPr>
        </p:nvSpPr>
        <p:spPr>
          <a:xfrm>
            <a:off x="457199" y="1691640"/>
            <a:ext cx="5529263" cy="4315460"/>
          </a:xfrm>
        </p:spPr>
        <p:txBody>
          <a:bodyPr vert="horz" lIns="0" tIns="0" rIns="0" bIns="0" rtlCol="0">
            <a:noAutofit/>
          </a:bodyPr>
          <a:lstStyle>
            <a:lvl1pPr>
              <a:defRPr lang="en-US" dirty="0"/>
            </a:lvl1pPr>
            <a:lvl2pPr>
              <a:defRPr lang="en-US" b="0" i="0" dirty="0">
                <a:latin typeface="Elevance Sans" pitchFamily="2" charset="77"/>
              </a:defRPr>
            </a:lvl2pPr>
            <a:lvl3pPr>
              <a:defRPr lang="en-US" b="0" i="0" dirty="0">
                <a:latin typeface="Elevance Sans" pitchFamily="2" charset="77"/>
              </a:defRPr>
            </a:lvl3pPr>
            <a:lvl4pPr>
              <a:defRPr lang="en-US" b="0" i="0" dirty="0">
                <a:latin typeface="Elevance Sans" pitchFamily="2" charset="77"/>
              </a:defRPr>
            </a:lvl4pPr>
            <a:lvl5pPr>
              <a:defRPr lang="en-US" b="0" i="0" dirty="0">
                <a:latin typeface="Elevance Sans" pitchFamily="2" charset="77"/>
              </a:defRPr>
            </a:lvl5pPr>
            <a:lvl6pPr>
              <a:defRPr b="0" i="0">
                <a:latin typeface="Elevance Sans" pitchFamily="2"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Content Placeholder 5">
            <a:extLst>
              <a:ext uri="{FF2B5EF4-FFF2-40B4-BE49-F238E27FC236}">
                <a16:creationId xmlns:a16="http://schemas.microsoft.com/office/drawing/2014/main" id="{3CE53746-D2D1-A542-9C3B-721279458886}"/>
              </a:ext>
            </a:extLst>
          </p:cNvPr>
          <p:cNvSpPr>
            <a:spLocks noGrp="1"/>
          </p:cNvSpPr>
          <p:nvPr>
            <p:ph sz="quarter" idx="12" hasCustomPrompt="1"/>
          </p:nvPr>
        </p:nvSpPr>
        <p:spPr>
          <a:xfrm>
            <a:off x="6215063" y="1691640"/>
            <a:ext cx="5529263" cy="4315460"/>
          </a:xfrm>
        </p:spPr>
        <p:txBody>
          <a:bodyPr vert="horz" lIns="0" tIns="0" rIns="0" bIns="0" rtlCol="0">
            <a:noAutofit/>
          </a:bodyPr>
          <a:lstStyle>
            <a:lvl1pPr>
              <a:defRPr lang="en-US" dirty="0"/>
            </a:lvl1pPr>
            <a:lvl2pPr>
              <a:defRPr lang="en-US" b="0" i="0" dirty="0">
                <a:latin typeface="Elevance Sans" pitchFamily="2" charset="77"/>
              </a:defRPr>
            </a:lvl2pPr>
            <a:lvl3pPr>
              <a:defRPr lang="en-US" b="0" i="0" dirty="0">
                <a:latin typeface="Elevance Sans" pitchFamily="2" charset="77"/>
              </a:defRPr>
            </a:lvl3pPr>
            <a:lvl4pPr>
              <a:defRPr lang="en-US" b="0" i="0" dirty="0">
                <a:latin typeface="Elevance Sans" pitchFamily="2" charset="77"/>
              </a:defRPr>
            </a:lvl4pPr>
            <a:lvl5pPr>
              <a:defRPr lang="en-US" b="0" i="0" dirty="0">
                <a:latin typeface="Elevance Sans" pitchFamily="2" charset="77"/>
              </a:defRPr>
            </a:lvl5pPr>
            <a:lvl6pPr>
              <a:defRPr b="0" i="0">
                <a:latin typeface="Elevance Sans" pitchFamily="2"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2" name="Text Placeholder 3">
            <a:extLst>
              <a:ext uri="{FF2B5EF4-FFF2-40B4-BE49-F238E27FC236}">
                <a16:creationId xmlns:a16="http://schemas.microsoft.com/office/drawing/2014/main" id="{8ED10CDB-97ED-C7F6-7D61-9D593116A4AB}"/>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931057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r Three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1B14E8-876B-374C-8CD3-A164EDD6BA34}"/>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a:latin typeface="Elevance Sans" pitchFamily="2" charset="77"/>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92488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p:txBody>
          <a:bodyPr/>
          <a:lstStyle/>
          <a:p>
            <a:r>
              <a:rPr lang="en-US"/>
              <a:t>Click to edit master title style</a:t>
            </a:r>
          </a:p>
        </p:txBody>
      </p:sp>
      <p:sp>
        <p:nvSpPr>
          <p:cNvPr id="12" name="Content Placeholder 5">
            <a:extLst>
              <a:ext uri="{FF2B5EF4-FFF2-40B4-BE49-F238E27FC236}">
                <a16:creationId xmlns:a16="http://schemas.microsoft.com/office/drawing/2014/main" id="{C1C43114-B0E1-2846-9078-B6D57EAF7066}"/>
              </a:ext>
            </a:extLst>
          </p:cNvPr>
          <p:cNvSpPr>
            <a:spLocks noGrp="1"/>
          </p:cNvSpPr>
          <p:nvPr>
            <p:ph sz="quarter" idx="11" hasCustomPrompt="1"/>
          </p:nvPr>
        </p:nvSpPr>
        <p:spPr>
          <a:xfrm>
            <a:off x="457200" y="1691640"/>
            <a:ext cx="3609976" cy="4315460"/>
          </a:xfrm>
        </p:spPr>
        <p:txBody>
          <a:bodyPr vert="horz" lIns="0" tIns="0" rIns="0" bIns="0" rtlCol="0">
            <a:noAutofit/>
          </a:bodyPr>
          <a:lstStyle>
            <a:lvl1pPr>
              <a:defRPr lang="en-US" dirty="0"/>
            </a:lvl1pPr>
            <a:lvl2pPr>
              <a:defRPr lang="en-US" b="0" i="0" dirty="0">
                <a:latin typeface="Elevance Sans" pitchFamily="2" charset="77"/>
              </a:defRPr>
            </a:lvl2pPr>
            <a:lvl3pPr>
              <a:defRPr lang="en-US" b="0" i="0" dirty="0">
                <a:latin typeface="Elevance Sans" pitchFamily="2" charset="77"/>
              </a:defRPr>
            </a:lvl3pPr>
            <a:lvl4pPr>
              <a:defRPr lang="en-US" b="0" i="0" dirty="0">
                <a:latin typeface="Elevance Sans" pitchFamily="2" charset="77"/>
              </a:defRPr>
            </a:lvl4pPr>
            <a:lvl5pPr>
              <a:defRPr lang="en-US" b="0" i="0" dirty="0">
                <a:latin typeface="Elevance Sans" pitchFamily="2" charset="77"/>
              </a:defRPr>
            </a:lvl5pPr>
            <a:lvl6pPr>
              <a:defRPr b="0" i="0">
                <a:latin typeface="Elevance Sans" pitchFamily="2"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3" name="Content Placeholder 5">
            <a:extLst>
              <a:ext uri="{FF2B5EF4-FFF2-40B4-BE49-F238E27FC236}">
                <a16:creationId xmlns:a16="http://schemas.microsoft.com/office/drawing/2014/main" id="{021BE228-66AE-6843-8E02-F38AB2654096}"/>
              </a:ext>
            </a:extLst>
          </p:cNvPr>
          <p:cNvSpPr>
            <a:spLocks noGrp="1"/>
          </p:cNvSpPr>
          <p:nvPr>
            <p:ph sz="quarter" idx="13" hasCustomPrompt="1"/>
          </p:nvPr>
        </p:nvSpPr>
        <p:spPr>
          <a:xfrm>
            <a:off x="4295273" y="1691640"/>
            <a:ext cx="3609976" cy="4315460"/>
          </a:xfrm>
        </p:spPr>
        <p:txBody>
          <a:bodyPr vert="horz" lIns="0" tIns="0" rIns="0" bIns="0" rtlCol="0">
            <a:noAutofit/>
          </a:bodyPr>
          <a:lstStyle>
            <a:lvl1pPr>
              <a:defRPr lang="en-US" dirty="0"/>
            </a:lvl1pPr>
            <a:lvl2pPr>
              <a:defRPr lang="en-US" b="0" i="0" dirty="0">
                <a:latin typeface="Elevance Sans" pitchFamily="2" charset="77"/>
              </a:defRPr>
            </a:lvl2pPr>
            <a:lvl3pPr>
              <a:defRPr lang="en-US" b="0" i="0" dirty="0">
                <a:latin typeface="Elevance Sans" pitchFamily="2" charset="77"/>
              </a:defRPr>
            </a:lvl3pPr>
            <a:lvl4pPr>
              <a:defRPr lang="en-US" b="0" i="0" dirty="0">
                <a:latin typeface="Elevance Sans" pitchFamily="2" charset="77"/>
              </a:defRPr>
            </a:lvl4pPr>
            <a:lvl5pPr>
              <a:defRPr lang="en-US" b="0" i="0" dirty="0">
                <a:latin typeface="Elevance Sans" pitchFamily="2" charset="77"/>
              </a:defRPr>
            </a:lvl5pPr>
            <a:lvl6pPr>
              <a:defRPr b="0" i="0">
                <a:latin typeface="Elevance Sans" pitchFamily="2"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4" name="Content Placeholder 5">
            <a:extLst>
              <a:ext uri="{FF2B5EF4-FFF2-40B4-BE49-F238E27FC236}">
                <a16:creationId xmlns:a16="http://schemas.microsoft.com/office/drawing/2014/main" id="{9AB33A90-9E8D-1947-98FD-768EFEB80DE8}"/>
              </a:ext>
            </a:extLst>
          </p:cNvPr>
          <p:cNvSpPr>
            <a:spLocks noGrp="1"/>
          </p:cNvSpPr>
          <p:nvPr>
            <p:ph sz="quarter" idx="14" hasCustomPrompt="1"/>
          </p:nvPr>
        </p:nvSpPr>
        <p:spPr>
          <a:xfrm>
            <a:off x="8133346" y="1691640"/>
            <a:ext cx="3598406" cy="4315460"/>
          </a:xfrm>
        </p:spPr>
        <p:txBody>
          <a:bodyPr vert="horz" lIns="0" tIns="0" rIns="0" bIns="0" rtlCol="0">
            <a:noAutofit/>
          </a:bodyPr>
          <a:lstStyle>
            <a:lvl1pPr>
              <a:defRPr lang="en-US" dirty="0"/>
            </a:lvl1pPr>
            <a:lvl2pPr>
              <a:defRPr lang="en-US" b="0" i="0" dirty="0">
                <a:latin typeface="Elevance Sans" pitchFamily="2" charset="77"/>
              </a:defRPr>
            </a:lvl2pPr>
            <a:lvl3pPr>
              <a:defRPr lang="en-US" b="0" i="0" dirty="0">
                <a:latin typeface="Elevance Sans" pitchFamily="2" charset="77"/>
              </a:defRPr>
            </a:lvl3pPr>
            <a:lvl4pPr>
              <a:defRPr lang="en-US" b="0" i="0" dirty="0">
                <a:latin typeface="Elevance Sans" pitchFamily="2" charset="77"/>
              </a:defRPr>
            </a:lvl4pPr>
            <a:lvl5pPr>
              <a:defRPr lang="en-US" b="0" i="0" dirty="0">
                <a:latin typeface="Elevance Sans" pitchFamily="2" charset="77"/>
              </a:defRPr>
            </a:lvl5pPr>
            <a:lvl6pPr>
              <a:defRPr b="0" i="0">
                <a:latin typeface="Elevance Sans" pitchFamily="2"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0" name="Text Placeholder 3">
            <a:extLst>
              <a:ext uri="{FF2B5EF4-FFF2-40B4-BE49-F238E27FC236}">
                <a16:creationId xmlns:a16="http://schemas.microsoft.com/office/drawing/2014/main" id="{76450561-FEC9-12F0-41A9-75A8982607BC}"/>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17931177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r Four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a:latin typeface="Elevance Sans" pitchFamily="2" charset="77"/>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780270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BE38FF19-B9DC-BEC5-6922-35EBAAFCB8BE}"/>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12" name="Content Placeholder 3">
            <a:extLst>
              <a:ext uri="{FF2B5EF4-FFF2-40B4-BE49-F238E27FC236}">
                <a16:creationId xmlns:a16="http://schemas.microsoft.com/office/drawing/2014/main" id="{CEE01E8D-84E1-AD12-A782-E87DA9984AC7}"/>
              </a:ext>
            </a:extLst>
          </p:cNvPr>
          <p:cNvSpPr>
            <a:spLocks noGrp="1"/>
          </p:cNvSpPr>
          <p:nvPr>
            <p:ph sz="quarter" idx="21"/>
          </p:nvPr>
        </p:nvSpPr>
        <p:spPr>
          <a:xfrm>
            <a:off x="475443" y="1691641"/>
            <a:ext cx="2640820" cy="4315460"/>
          </a:xfrm>
        </p:spPr>
        <p:txBody>
          <a:bodyPr/>
          <a:lstStyle>
            <a:lvl1pPr>
              <a:spcBef>
                <a:spcPts val="1600"/>
              </a:spcBef>
              <a:defRPr sz="1600"/>
            </a:lvl1pPr>
            <a:lvl2pPr>
              <a:spcBef>
                <a:spcPts val="1600"/>
              </a:spcBef>
              <a:defRPr sz="1600" b="0" i="0">
                <a:latin typeface="Elevance Sans" pitchFamily="2" charset="77"/>
              </a:defRPr>
            </a:lvl2pPr>
            <a:lvl3pPr>
              <a:spcBef>
                <a:spcPts val="1600"/>
              </a:spcBef>
              <a:defRPr sz="1600" b="0" i="0">
                <a:latin typeface="Elevance Sans" pitchFamily="2" charset="77"/>
              </a:defRPr>
            </a:lvl3pPr>
            <a:lvl4pPr>
              <a:spcBef>
                <a:spcPts val="1600"/>
              </a:spcBef>
              <a:defRPr sz="1600" b="0" i="0">
                <a:latin typeface="Elevance Sans" pitchFamily="2" charset="77"/>
              </a:defRPr>
            </a:lvl4pPr>
            <a:lvl5pPr>
              <a:spcBef>
                <a:spcPts val="1600"/>
              </a:spcBef>
              <a:defRPr sz="1600" b="0" i="0">
                <a:latin typeface="Elevance Sans" pitchFamily="2" charset="77"/>
              </a:defRPr>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40A5DD05-C4B6-9843-A62D-C443760176FF}"/>
              </a:ext>
            </a:extLst>
          </p:cNvPr>
          <p:cNvSpPr>
            <a:spLocks noGrp="1"/>
          </p:cNvSpPr>
          <p:nvPr>
            <p:ph sz="quarter" idx="22"/>
          </p:nvPr>
        </p:nvSpPr>
        <p:spPr>
          <a:xfrm>
            <a:off x="3348289" y="1691641"/>
            <a:ext cx="2640820" cy="4315460"/>
          </a:xfrm>
        </p:spPr>
        <p:txBody>
          <a:bodyPr/>
          <a:lstStyle>
            <a:lvl1pPr>
              <a:spcBef>
                <a:spcPts val="1600"/>
              </a:spcBef>
              <a:defRPr sz="1600"/>
            </a:lvl1pPr>
            <a:lvl2pPr>
              <a:spcBef>
                <a:spcPts val="1600"/>
              </a:spcBef>
              <a:defRPr sz="1600" b="0" i="0">
                <a:latin typeface="Elevance Sans" pitchFamily="2" charset="77"/>
              </a:defRPr>
            </a:lvl2pPr>
            <a:lvl3pPr>
              <a:spcBef>
                <a:spcPts val="1600"/>
              </a:spcBef>
              <a:defRPr sz="1600" b="0" i="0">
                <a:latin typeface="Elevance Sans" pitchFamily="2" charset="77"/>
              </a:defRPr>
            </a:lvl3pPr>
            <a:lvl4pPr>
              <a:spcBef>
                <a:spcPts val="1600"/>
              </a:spcBef>
              <a:defRPr sz="1600" b="0" i="0">
                <a:latin typeface="Elevance Sans" pitchFamily="2" charset="77"/>
              </a:defRPr>
            </a:lvl4pPr>
            <a:lvl5pPr>
              <a:spcBef>
                <a:spcPts val="1600"/>
              </a:spcBef>
              <a:defRPr sz="1600" b="0" i="0">
                <a:latin typeface="Elevance Sans" pitchFamily="2" charset="77"/>
              </a:defRPr>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F93CE002-5F00-5D51-39E4-CDE4D7B5FA5E}"/>
              </a:ext>
            </a:extLst>
          </p:cNvPr>
          <p:cNvSpPr>
            <a:spLocks noGrp="1"/>
          </p:cNvSpPr>
          <p:nvPr>
            <p:ph sz="quarter" idx="23"/>
          </p:nvPr>
        </p:nvSpPr>
        <p:spPr>
          <a:xfrm>
            <a:off x="6221135" y="1691641"/>
            <a:ext cx="2640820" cy="4315460"/>
          </a:xfrm>
        </p:spPr>
        <p:txBody>
          <a:bodyPr/>
          <a:lstStyle>
            <a:lvl1pPr>
              <a:spcBef>
                <a:spcPts val="1600"/>
              </a:spcBef>
              <a:defRPr sz="1600"/>
            </a:lvl1pPr>
            <a:lvl2pPr>
              <a:spcBef>
                <a:spcPts val="1600"/>
              </a:spcBef>
              <a:defRPr sz="1600" b="0" i="0">
                <a:latin typeface="Elevance Sans" pitchFamily="2" charset="77"/>
              </a:defRPr>
            </a:lvl2pPr>
            <a:lvl3pPr>
              <a:spcBef>
                <a:spcPts val="1600"/>
              </a:spcBef>
              <a:defRPr sz="1600" b="0" i="0">
                <a:latin typeface="Elevance Sans" pitchFamily="2" charset="77"/>
              </a:defRPr>
            </a:lvl3pPr>
            <a:lvl4pPr>
              <a:spcBef>
                <a:spcPts val="1600"/>
              </a:spcBef>
              <a:defRPr sz="1600" b="0" i="0">
                <a:latin typeface="Elevance Sans" pitchFamily="2" charset="77"/>
              </a:defRPr>
            </a:lvl4pPr>
            <a:lvl5pPr>
              <a:spcBef>
                <a:spcPts val="1600"/>
              </a:spcBef>
              <a:defRPr sz="1600" b="0" i="0">
                <a:latin typeface="Elevance Sans" pitchFamily="2" charset="77"/>
              </a:defRPr>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45A1531-CBA7-6DF4-28FE-E74AA1D63197}"/>
              </a:ext>
            </a:extLst>
          </p:cNvPr>
          <p:cNvSpPr>
            <a:spLocks noGrp="1"/>
          </p:cNvSpPr>
          <p:nvPr>
            <p:ph sz="quarter" idx="24"/>
          </p:nvPr>
        </p:nvSpPr>
        <p:spPr>
          <a:xfrm>
            <a:off x="9093980" y="1691641"/>
            <a:ext cx="2640820" cy="4315460"/>
          </a:xfrm>
        </p:spPr>
        <p:txBody>
          <a:bodyPr/>
          <a:lstStyle>
            <a:lvl1pPr>
              <a:spcBef>
                <a:spcPts val="1600"/>
              </a:spcBef>
              <a:defRPr sz="1600"/>
            </a:lvl1pPr>
            <a:lvl2pPr>
              <a:spcBef>
                <a:spcPts val="1600"/>
              </a:spcBef>
              <a:defRPr sz="1600" b="0" i="0">
                <a:latin typeface="Elevance Sans" pitchFamily="2" charset="77"/>
              </a:defRPr>
            </a:lvl2pPr>
            <a:lvl3pPr>
              <a:spcBef>
                <a:spcPts val="1600"/>
              </a:spcBef>
              <a:defRPr sz="1600" b="0" i="0">
                <a:latin typeface="Elevance Sans" pitchFamily="2" charset="77"/>
              </a:defRPr>
            </a:lvl3pPr>
            <a:lvl4pPr>
              <a:spcBef>
                <a:spcPts val="1600"/>
              </a:spcBef>
              <a:defRPr sz="1600" b="0" i="0">
                <a:latin typeface="Elevance Sans" pitchFamily="2" charset="77"/>
              </a:defRPr>
            </a:lvl4pPr>
            <a:lvl5pPr>
              <a:spcBef>
                <a:spcPts val="1600"/>
              </a:spcBef>
              <a:defRPr sz="1600" b="0" i="0">
                <a:latin typeface="Elevance Sans" pitchFamily="2" charset="77"/>
              </a:defRPr>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9557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0F62E-226D-824B-B8DB-2C89D7A653EA}"/>
              </a:ext>
            </a:extLst>
          </p:cNvPr>
          <p:cNvSpPr>
            <a:spLocks noGrp="1"/>
          </p:cNvSpPr>
          <p:nvPr>
            <p:ph type="title" hasCustomPrompt="1"/>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8FE593D0-EE65-A94C-979B-4EB5160A52D5}"/>
              </a:ext>
            </a:extLst>
          </p:cNvPr>
          <p:cNvSpPr>
            <a:spLocks noGrp="1"/>
          </p:cNvSpPr>
          <p:nvPr>
            <p:ph type="body" sz="quarter" idx="12" hasCustomPrompt="1"/>
          </p:nvPr>
        </p:nvSpPr>
        <p:spPr>
          <a:xfrm>
            <a:off x="463550"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6" name="Text Placeholder 4">
            <a:extLst>
              <a:ext uri="{FF2B5EF4-FFF2-40B4-BE49-F238E27FC236}">
                <a16:creationId xmlns:a16="http://schemas.microsoft.com/office/drawing/2014/main" id="{A4F42A18-507B-2A47-B6EA-97335445F084}"/>
              </a:ext>
            </a:extLst>
          </p:cNvPr>
          <p:cNvSpPr>
            <a:spLocks noGrp="1"/>
          </p:cNvSpPr>
          <p:nvPr>
            <p:ph type="body" sz="quarter" idx="13" hasCustomPrompt="1"/>
          </p:nvPr>
        </p:nvSpPr>
        <p:spPr>
          <a:xfrm>
            <a:off x="463550"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a:t>Insert title</a:t>
            </a:r>
          </a:p>
        </p:txBody>
      </p:sp>
      <p:sp>
        <p:nvSpPr>
          <p:cNvPr id="8" name="Picture Placeholder 7">
            <a:extLst>
              <a:ext uri="{FF2B5EF4-FFF2-40B4-BE49-F238E27FC236}">
                <a16:creationId xmlns:a16="http://schemas.microsoft.com/office/drawing/2014/main" id="{7136F8D8-9E9A-7C43-880A-D35701E32683}"/>
              </a:ext>
            </a:extLst>
          </p:cNvPr>
          <p:cNvSpPr>
            <a:spLocks noGrp="1"/>
          </p:cNvSpPr>
          <p:nvPr>
            <p:ph type="pic" sz="quarter" idx="14"/>
          </p:nvPr>
        </p:nvSpPr>
        <p:spPr>
          <a:xfrm>
            <a:off x="846137"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p>
        </p:txBody>
      </p:sp>
      <p:sp>
        <p:nvSpPr>
          <p:cNvPr id="9" name="Text Placeholder 4">
            <a:extLst>
              <a:ext uri="{FF2B5EF4-FFF2-40B4-BE49-F238E27FC236}">
                <a16:creationId xmlns:a16="http://schemas.microsoft.com/office/drawing/2014/main" id="{9ADE556B-B119-6F48-A31A-9BF6AEDC91BB}"/>
              </a:ext>
            </a:extLst>
          </p:cNvPr>
          <p:cNvSpPr>
            <a:spLocks noGrp="1"/>
          </p:cNvSpPr>
          <p:nvPr>
            <p:ph type="body" sz="quarter" idx="15" hasCustomPrompt="1"/>
          </p:nvPr>
        </p:nvSpPr>
        <p:spPr>
          <a:xfrm>
            <a:off x="237911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10" name="Text Placeholder 4">
            <a:extLst>
              <a:ext uri="{FF2B5EF4-FFF2-40B4-BE49-F238E27FC236}">
                <a16:creationId xmlns:a16="http://schemas.microsoft.com/office/drawing/2014/main" id="{DBE864A2-9804-E543-A5CE-8D60A0A295DC}"/>
              </a:ext>
            </a:extLst>
          </p:cNvPr>
          <p:cNvSpPr>
            <a:spLocks noGrp="1"/>
          </p:cNvSpPr>
          <p:nvPr>
            <p:ph type="body" sz="quarter" idx="16" hasCustomPrompt="1"/>
          </p:nvPr>
        </p:nvSpPr>
        <p:spPr>
          <a:xfrm>
            <a:off x="237911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a:t>Insert title</a:t>
            </a:r>
          </a:p>
        </p:txBody>
      </p:sp>
      <p:sp>
        <p:nvSpPr>
          <p:cNvPr id="11" name="Picture Placeholder 7">
            <a:extLst>
              <a:ext uri="{FF2B5EF4-FFF2-40B4-BE49-F238E27FC236}">
                <a16:creationId xmlns:a16="http://schemas.microsoft.com/office/drawing/2014/main" id="{B419F68C-84F4-CA45-BF35-6C80E7E9133B}"/>
              </a:ext>
            </a:extLst>
          </p:cNvPr>
          <p:cNvSpPr>
            <a:spLocks noGrp="1"/>
          </p:cNvSpPr>
          <p:nvPr>
            <p:ph type="pic" sz="quarter" idx="17"/>
          </p:nvPr>
        </p:nvSpPr>
        <p:spPr>
          <a:xfrm>
            <a:off x="276170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p>
        </p:txBody>
      </p:sp>
      <p:sp>
        <p:nvSpPr>
          <p:cNvPr id="12" name="Text Placeholder 4">
            <a:extLst>
              <a:ext uri="{FF2B5EF4-FFF2-40B4-BE49-F238E27FC236}">
                <a16:creationId xmlns:a16="http://schemas.microsoft.com/office/drawing/2014/main" id="{01CB1C99-74B5-174F-98C0-171233B66025}"/>
              </a:ext>
            </a:extLst>
          </p:cNvPr>
          <p:cNvSpPr>
            <a:spLocks noGrp="1"/>
          </p:cNvSpPr>
          <p:nvPr>
            <p:ph type="body" sz="quarter" idx="18" hasCustomPrompt="1"/>
          </p:nvPr>
        </p:nvSpPr>
        <p:spPr>
          <a:xfrm>
            <a:off x="4308035"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13" name="Text Placeholder 4">
            <a:extLst>
              <a:ext uri="{FF2B5EF4-FFF2-40B4-BE49-F238E27FC236}">
                <a16:creationId xmlns:a16="http://schemas.microsoft.com/office/drawing/2014/main" id="{824E4549-6E6F-7745-AB1B-8EDC747F883F}"/>
              </a:ext>
            </a:extLst>
          </p:cNvPr>
          <p:cNvSpPr>
            <a:spLocks noGrp="1"/>
          </p:cNvSpPr>
          <p:nvPr>
            <p:ph type="body" sz="quarter" idx="19" hasCustomPrompt="1"/>
          </p:nvPr>
        </p:nvSpPr>
        <p:spPr>
          <a:xfrm>
            <a:off x="4308035"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a:t>Insert title</a:t>
            </a:r>
          </a:p>
        </p:txBody>
      </p:sp>
      <p:sp>
        <p:nvSpPr>
          <p:cNvPr id="14" name="Picture Placeholder 7">
            <a:extLst>
              <a:ext uri="{FF2B5EF4-FFF2-40B4-BE49-F238E27FC236}">
                <a16:creationId xmlns:a16="http://schemas.microsoft.com/office/drawing/2014/main" id="{29D27A29-F9E8-6346-A5EF-5DA6EA07F1CC}"/>
              </a:ext>
            </a:extLst>
          </p:cNvPr>
          <p:cNvSpPr>
            <a:spLocks noGrp="1"/>
          </p:cNvSpPr>
          <p:nvPr>
            <p:ph type="pic" sz="quarter" idx="20"/>
          </p:nvPr>
        </p:nvSpPr>
        <p:spPr>
          <a:xfrm>
            <a:off x="4690622"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p>
        </p:txBody>
      </p:sp>
      <p:sp>
        <p:nvSpPr>
          <p:cNvPr id="15" name="Text Placeholder 4">
            <a:extLst>
              <a:ext uri="{FF2B5EF4-FFF2-40B4-BE49-F238E27FC236}">
                <a16:creationId xmlns:a16="http://schemas.microsoft.com/office/drawing/2014/main" id="{CEBB509A-6317-3047-B130-69533D44DA2C}"/>
              </a:ext>
            </a:extLst>
          </p:cNvPr>
          <p:cNvSpPr>
            <a:spLocks noGrp="1"/>
          </p:cNvSpPr>
          <p:nvPr>
            <p:ph type="body" sz="quarter" idx="21" hasCustomPrompt="1"/>
          </p:nvPr>
        </p:nvSpPr>
        <p:spPr>
          <a:xfrm>
            <a:off x="621692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16" name="Text Placeholder 4">
            <a:extLst>
              <a:ext uri="{FF2B5EF4-FFF2-40B4-BE49-F238E27FC236}">
                <a16:creationId xmlns:a16="http://schemas.microsoft.com/office/drawing/2014/main" id="{87C8E29D-1DF4-E64B-B1A0-057FB56DD8F8}"/>
              </a:ext>
            </a:extLst>
          </p:cNvPr>
          <p:cNvSpPr>
            <a:spLocks noGrp="1"/>
          </p:cNvSpPr>
          <p:nvPr>
            <p:ph type="body" sz="quarter" idx="22" hasCustomPrompt="1"/>
          </p:nvPr>
        </p:nvSpPr>
        <p:spPr>
          <a:xfrm>
            <a:off x="621692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a:t>Insert title</a:t>
            </a:r>
          </a:p>
        </p:txBody>
      </p:sp>
      <p:sp>
        <p:nvSpPr>
          <p:cNvPr id="17" name="Picture Placeholder 7">
            <a:extLst>
              <a:ext uri="{FF2B5EF4-FFF2-40B4-BE49-F238E27FC236}">
                <a16:creationId xmlns:a16="http://schemas.microsoft.com/office/drawing/2014/main" id="{0BD9928C-5B7E-4748-9D80-5DE690EE3BC9}"/>
              </a:ext>
            </a:extLst>
          </p:cNvPr>
          <p:cNvSpPr>
            <a:spLocks noGrp="1"/>
          </p:cNvSpPr>
          <p:nvPr>
            <p:ph type="pic" sz="quarter" idx="23"/>
          </p:nvPr>
        </p:nvSpPr>
        <p:spPr>
          <a:xfrm>
            <a:off x="659951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p>
        </p:txBody>
      </p:sp>
      <p:sp>
        <p:nvSpPr>
          <p:cNvPr id="18" name="Text Placeholder 4">
            <a:extLst>
              <a:ext uri="{FF2B5EF4-FFF2-40B4-BE49-F238E27FC236}">
                <a16:creationId xmlns:a16="http://schemas.microsoft.com/office/drawing/2014/main" id="{FE3CBF30-81DD-0A43-8A15-60197C866CAF}"/>
              </a:ext>
            </a:extLst>
          </p:cNvPr>
          <p:cNvSpPr>
            <a:spLocks noGrp="1"/>
          </p:cNvSpPr>
          <p:nvPr>
            <p:ph type="body" sz="quarter" idx="24" hasCustomPrompt="1"/>
          </p:nvPr>
        </p:nvSpPr>
        <p:spPr>
          <a:xfrm>
            <a:off x="8139170"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19" name="Text Placeholder 4">
            <a:extLst>
              <a:ext uri="{FF2B5EF4-FFF2-40B4-BE49-F238E27FC236}">
                <a16:creationId xmlns:a16="http://schemas.microsoft.com/office/drawing/2014/main" id="{199B807F-816B-6C48-B219-89F944F4EBAC}"/>
              </a:ext>
            </a:extLst>
          </p:cNvPr>
          <p:cNvSpPr>
            <a:spLocks noGrp="1"/>
          </p:cNvSpPr>
          <p:nvPr>
            <p:ph type="body" sz="quarter" idx="25" hasCustomPrompt="1"/>
          </p:nvPr>
        </p:nvSpPr>
        <p:spPr>
          <a:xfrm>
            <a:off x="8139170"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a:t>Insert title</a:t>
            </a:r>
          </a:p>
        </p:txBody>
      </p:sp>
      <p:sp>
        <p:nvSpPr>
          <p:cNvPr id="20" name="Picture Placeholder 7">
            <a:extLst>
              <a:ext uri="{FF2B5EF4-FFF2-40B4-BE49-F238E27FC236}">
                <a16:creationId xmlns:a16="http://schemas.microsoft.com/office/drawing/2014/main" id="{8A8BF656-1C8C-6649-A301-D3C1DB5EA165}"/>
              </a:ext>
            </a:extLst>
          </p:cNvPr>
          <p:cNvSpPr>
            <a:spLocks noGrp="1"/>
          </p:cNvSpPr>
          <p:nvPr>
            <p:ph type="pic" sz="quarter" idx="26"/>
          </p:nvPr>
        </p:nvSpPr>
        <p:spPr>
          <a:xfrm>
            <a:off x="8521757"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p>
        </p:txBody>
      </p:sp>
      <p:sp>
        <p:nvSpPr>
          <p:cNvPr id="21" name="Text Placeholder 4">
            <a:extLst>
              <a:ext uri="{FF2B5EF4-FFF2-40B4-BE49-F238E27FC236}">
                <a16:creationId xmlns:a16="http://schemas.microsoft.com/office/drawing/2014/main" id="{8E97B3CF-F3AF-0847-973F-35EB62E0DB15}"/>
              </a:ext>
            </a:extLst>
          </p:cNvPr>
          <p:cNvSpPr>
            <a:spLocks noGrp="1"/>
          </p:cNvSpPr>
          <p:nvPr>
            <p:ph type="body" sz="quarter" idx="27" hasCustomPrompt="1"/>
          </p:nvPr>
        </p:nvSpPr>
        <p:spPr>
          <a:xfrm>
            <a:off x="1005473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22" name="Text Placeholder 4">
            <a:extLst>
              <a:ext uri="{FF2B5EF4-FFF2-40B4-BE49-F238E27FC236}">
                <a16:creationId xmlns:a16="http://schemas.microsoft.com/office/drawing/2014/main" id="{4000D23D-524D-D842-BDC0-1528A56D18D3}"/>
              </a:ext>
            </a:extLst>
          </p:cNvPr>
          <p:cNvSpPr>
            <a:spLocks noGrp="1"/>
          </p:cNvSpPr>
          <p:nvPr>
            <p:ph type="body" sz="quarter" idx="28" hasCustomPrompt="1"/>
          </p:nvPr>
        </p:nvSpPr>
        <p:spPr>
          <a:xfrm>
            <a:off x="1005473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a:t>Insert title</a:t>
            </a:r>
          </a:p>
        </p:txBody>
      </p:sp>
      <p:sp>
        <p:nvSpPr>
          <p:cNvPr id="23" name="Picture Placeholder 7">
            <a:extLst>
              <a:ext uri="{FF2B5EF4-FFF2-40B4-BE49-F238E27FC236}">
                <a16:creationId xmlns:a16="http://schemas.microsoft.com/office/drawing/2014/main" id="{8ACF24C7-C577-1740-83D4-188B3F6A4CCB}"/>
              </a:ext>
            </a:extLst>
          </p:cNvPr>
          <p:cNvSpPr>
            <a:spLocks noGrp="1"/>
          </p:cNvSpPr>
          <p:nvPr>
            <p:ph type="pic" sz="quarter" idx="29"/>
          </p:nvPr>
        </p:nvSpPr>
        <p:spPr>
          <a:xfrm>
            <a:off x="1043732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p>
        </p:txBody>
      </p:sp>
      <p:sp>
        <p:nvSpPr>
          <p:cNvPr id="24" name="Text Placeholder 4">
            <a:extLst>
              <a:ext uri="{FF2B5EF4-FFF2-40B4-BE49-F238E27FC236}">
                <a16:creationId xmlns:a16="http://schemas.microsoft.com/office/drawing/2014/main" id="{E97CDEC1-E73D-F846-83AB-C6232AFCC7A0}"/>
              </a:ext>
            </a:extLst>
          </p:cNvPr>
          <p:cNvSpPr>
            <a:spLocks noGrp="1"/>
          </p:cNvSpPr>
          <p:nvPr>
            <p:ph type="body" sz="quarter" idx="30" hasCustomPrompt="1"/>
          </p:nvPr>
        </p:nvSpPr>
        <p:spPr>
          <a:xfrm>
            <a:off x="463550"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25" name="Text Placeholder 4">
            <a:extLst>
              <a:ext uri="{FF2B5EF4-FFF2-40B4-BE49-F238E27FC236}">
                <a16:creationId xmlns:a16="http://schemas.microsoft.com/office/drawing/2014/main" id="{3A0FC742-28EF-1F4F-98A3-67EDF60D9541}"/>
              </a:ext>
            </a:extLst>
          </p:cNvPr>
          <p:cNvSpPr>
            <a:spLocks noGrp="1"/>
          </p:cNvSpPr>
          <p:nvPr>
            <p:ph type="body" sz="quarter" idx="31" hasCustomPrompt="1"/>
          </p:nvPr>
        </p:nvSpPr>
        <p:spPr>
          <a:xfrm>
            <a:off x="463550"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a:t>Insert title</a:t>
            </a:r>
          </a:p>
        </p:txBody>
      </p:sp>
      <p:sp>
        <p:nvSpPr>
          <p:cNvPr id="26" name="Picture Placeholder 7">
            <a:extLst>
              <a:ext uri="{FF2B5EF4-FFF2-40B4-BE49-F238E27FC236}">
                <a16:creationId xmlns:a16="http://schemas.microsoft.com/office/drawing/2014/main" id="{AC2C9A8D-A59D-3545-BBA0-D20E682673F9}"/>
              </a:ext>
            </a:extLst>
          </p:cNvPr>
          <p:cNvSpPr>
            <a:spLocks noGrp="1"/>
          </p:cNvSpPr>
          <p:nvPr>
            <p:ph type="pic" sz="quarter" idx="32"/>
          </p:nvPr>
        </p:nvSpPr>
        <p:spPr>
          <a:xfrm>
            <a:off x="846137"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p>
        </p:txBody>
      </p:sp>
      <p:sp>
        <p:nvSpPr>
          <p:cNvPr id="27" name="Text Placeholder 4">
            <a:extLst>
              <a:ext uri="{FF2B5EF4-FFF2-40B4-BE49-F238E27FC236}">
                <a16:creationId xmlns:a16="http://schemas.microsoft.com/office/drawing/2014/main" id="{0A06A56F-E43A-8E47-894E-4A4CED51900B}"/>
              </a:ext>
            </a:extLst>
          </p:cNvPr>
          <p:cNvSpPr>
            <a:spLocks noGrp="1"/>
          </p:cNvSpPr>
          <p:nvPr>
            <p:ph type="body" sz="quarter" idx="33" hasCustomPrompt="1"/>
          </p:nvPr>
        </p:nvSpPr>
        <p:spPr>
          <a:xfrm>
            <a:off x="237911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28" name="Text Placeholder 4">
            <a:extLst>
              <a:ext uri="{FF2B5EF4-FFF2-40B4-BE49-F238E27FC236}">
                <a16:creationId xmlns:a16="http://schemas.microsoft.com/office/drawing/2014/main" id="{3273EA5D-FA5D-204D-B343-A30D7C321D28}"/>
              </a:ext>
            </a:extLst>
          </p:cNvPr>
          <p:cNvSpPr>
            <a:spLocks noGrp="1"/>
          </p:cNvSpPr>
          <p:nvPr>
            <p:ph type="body" sz="quarter" idx="34" hasCustomPrompt="1"/>
          </p:nvPr>
        </p:nvSpPr>
        <p:spPr>
          <a:xfrm>
            <a:off x="237911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a:t>Insert title</a:t>
            </a:r>
          </a:p>
        </p:txBody>
      </p:sp>
      <p:sp>
        <p:nvSpPr>
          <p:cNvPr id="29" name="Picture Placeholder 7">
            <a:extLst>
              <a:ext uri="{FF2B5EF4-FFF2-40B4-BE49-F238E27FC236}">
                <a16:creationId xmlns:a16="http://schemas.microsoft.com/office/drawing/2014/main" id="{820AB5A6-040E-7444-A303-397B423E04B0}"/>
              </a:ext>
            </a:extLst>
          </p:cNvPr>
          <p:cNvSpPr>
            <a:spLocks noGrp="1"/>
          </p:cNvSpPr>
          <p:nvPr>
            <p:ph type="pic" sz="quarter" idx="35"/>
          </p:nvPr>
        </p:nvSpPr>
        <p:spPr>
          <a:xfrm>
            <a:off x="276170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p>
        </p:txBody>
      </p:sp>
      <p:sp>
        <p:nvSpPr>
          <p:cNvPr id="30" name="Text Placeholder 4">
            <a:extLst>
              <a:ext uri="{FF2B5EF4-FFF2-40B4-BE49-F238E27FC236}">
                <a16:creationId xmlns:a16="http://schemas.microsoft.com/office/drawing/2014/main" id="{511F3BD3-8995-1046-8A62-EA88A88290BA}"/>
              </a:ext>
            </a:extLst>
          </p:cNvPr>
          <p:cNvSpPr>
            <a:spLocks noGrp="1"/>
          </p:cNvSpPr>
          <p:nvPr>
            <p:ph type="body" sz="quarter" idx="36" hasCustomPrompt="1"/>
          </p:nvPr>
        </p:nvSpPr>
        <p:spPr>
          <a:xfrm>
            <a:off x="4308035"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31" name="Text Placeholder 4">
            <a:extLst>
              <a:ext uri="{FF2B5EF4-FFF2-40B4-BE49-F238E27FC236}">
                <a16:creationId xmlns:a16="http://schemas.microsoft.com/office/drawing/2014/main" id="{D9600E0F-D874-F846-849D-FD682311EC4A}"/>
              </a:ext>
            </a:extLst>
          </p:cNvPr>
          <p:cNvSpPr>
            <a:spLocks noGrp="1"/>
          </p:cNvSpPr>
          <p:nvPr>
            <p:ph type="body" sz="quarter" idx="37" hasCustomPrompt="1"/>
          </p:nvPr>
        </p:nvSpPr>
        <p:spPr>
          <a:xfrm>
            <a:off x="4308035"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a:t>Insert title</a:t>
            </a:r>
          </a:p>
        </p:txBody>
      </p:sp>
      <p:sp>
        <p:nvSpPr>
          <p:cNvPr id="32" name="Picture Placeholder 7">
            <a:extLst>
              <a:ext uri="{FF2B5EF4-FFF2-40B4-BE49-F238E27FC236}">
                <a16:creationId xmlns:a16="http://schemas.microsoft.com/office/drawing/2014/main" id="{C76A1F97-0A75-BD4D-BA6D-656B14A955D1}"/>
              </a:ext>
            </a:extLst>
          </p:cNvPr>
          <p:cNvSpPr>
            <a:spLocks noGrp="1"/>
          </p:cNvSpPr>
          <p:nvPr>
            <p:ph type="pic" sz="quarter" idx="38"/>
          </p:nvPr>
        </p:nvSpPr>
        <p:spPr>
          <a:xfrm>
            <a:off x="4690622"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p>
        </p:txBody>
      </p:sp>
      <p:sp>
        <p:nvSpPr>
          <p:cNvPr id="33" name="Text Placeholder 4">
            <a:extLst>
              <a:ext uri="{FF2B5EF4-FFF2-40B4-BE49-F238E27FC236}">
                <a16:creationId xmlns:a16="http://schemas.microsoft.com/office/drawing/2014/main" id="{CD916EA2-8B5B-7749-9833-BD3AAEB0BA64}"/>
              </a:ext>
            </a:extLst>
          </p:cNvPr>
          <p:cNvSpPr>
            <a:spLocks noGrp="1"/>
          </p:cNvSpPr>
          <p:nvPr>
            <p:ph type="body" sz="quarter" idx="39" hasCustomPrompt="1"/>
          </p:nvPr>
        </p:nvSpPr>
        <p:spPr>
          <a:xfrm>
            <a:off x="621692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34" name="Text Placeholder 4">
            <a:extLst>
              <a:ext uri="{FF2B5EF4-FFF2-40B4-BE49-F238E27FC236}">
                <a16:creationId xmlns:a16="http://schemas.microsoft.com/office/drawing/2014/main" id="{2B761728-8BB5-7C4B-A669-4B3DA236D655}"/>
              </a:ext>
            </a:extLst>
          </p:cNvPr>
          <p:cNvSpPr>
            <a:spLocks noGrp="1"/>
          </p:cNvSpPr>
          <p:nvPr>
            <p:ph type="body" sz="quarter" idx="40" hasCustomPrompt="1"/>
          </p:nvPr>
        </p:nvSpPr>
        <p:spPr>
          <a:xfrm>
            <a:off x="621692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a:t>Insert title</a:t>
            </a:r>
          </a:p>
        </p:txBody>
      </p:sp>
      <p:sp>
        <p:nvSpPr>
          <p:cNvPr id="35" name="Picture Placeholder 7">
            <a:extLst>
              <a:ext uri="{FF2B5EF4-FFF2-40B4-BE49-F238E27FC236}">
                <a16:creationId xmlns:a16="http://schemas.microsoft.com/office/drawing/2014/main" id="{468D7D8C-1D74-7749-ACAE-DD956F429E07}"/>
              </a:ext>
            </a:extLst>
          </p:cNvPr>
          <p:cNvSpPr>
            <a:spLocks noGrp="1"/>
          </p:cNvSpPr>
          <p:nvPr>
            <p:ph type="pic" sz="quarter" idx="41"/>
          </p:nvPr>
        </p:nvSpPr>
        <p:spPr>
          <a:xfrm>
            <a:off x="659951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p>
        </p:txBody>
      </p:sp>
      <p:sp>
        <p:nvSpPr>
          <p:cNvPr id="36" name="Text Placeholder 4">
            <a:extLst>
              <a:ext uri="{FF2B5EF4-FFF2-40B4-BE49-F238E27FC236}">
                <a16:creationId xmlns:a16="http://schemas.microsoft.com/office/drawing/2014/main" id="{5115002D-A2C1-3D47-8436-81012F937E85}"/>
              </a:ext>
            </a:extLst>
          </p:cNvPr>
          <p:cNvSpPr>
            <a:spLocks noGrp="1"/>
          </p:cNvSpPr>
          <p:nvPr>
            <p:ph type="body" sz="quarter" idx="42" hasCustomPrompt="1"/>
          </p:nvPr>
        </p:nvSpPr>
        <p:spPr>
          <a:xfrm>
            <a:off x="8139170"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37" name="Text Placeholder 4">
            <a:extLst>
              <a:ext uri="{FF2B5EF4-FFF2-40B4-BE49-F238E27FC236}">
                <a16:creationId xmlns:a16="http://schemas.microsoft.com/office/drawing/2014/main" id="{52CA7F72-BC77-AB40-96F2-E54F449FEBA0}"/>
              </a:ext>
            </a:extLst>
          </p:cNvPr>
          <p:cNvSpPr>
            <a:spLocks noGrp="1"/>
          </p:cNvSpPr>
          <p:nvPr>
            <p:ph type="body" sz="quarter" idx="43" hasCustomPrompt="1"/>
          </p:nvPr>
        </p:nvSpPr>
        <p:spPr>
          <a:xfrm>
            <a:off x="8139170"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a:t>Insert title</a:t>
            </a:r>
          </a:p>
        </p:txBody>
      </p:sp>
      <p:sp>
        <p:nvSpPr>
          <p:cNvPr id="38" name="Picture Placeholder 7">
            <a:extLst>
              <a:ext uri="{FF2B5EF4-FFF2-40B4-BE49-F238E27FC236}">
                <a16:creationId xmlns:a16="http://schemas.microsoft.com/office/drawing/2014/main" id="{C2C35CCF-59F6-C041-BA4A-796054E77C0F}"/>
              </a:ext>
            </a:extLst>
          </p:cNvPr>
          <p:cNvSpPr>
            <a:spLocks noGrp="1"/>
          </p:cNvSpPr>
          <p:nvPr>
            <p:ph type="pic" sz="quarter" idx="44"/>
          </p:nvPr>
        </p:nvSpPr>
        <p:spPr>
          <a:xfrm>
            <a:off x="8521757"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p>
        </p:txBody>
      </p:sp>
      <p:sp>
        <p:nvSpPr>
          <p:cNvPr id="39" name="Text Placeholder 4">
            <a:extLst>
              <a:ext uri="{FF2B5EF4-FFF2-40B4-BE49-F238E27FC236}">
                <a16:creationId xmlns:a16="http://schemas.microsoft.com/office/drawing/2014/main" id="{EE03E675-6CAE-E140-A3D4-6495DA757EAB}"/>
              </a:ext>
            </a:extLst>
          </p:cNvPr>
          <p:cNvSpPr>
            <a:spLocks noGrp="1"/>
          </p:cNvSpPr>
          <p:nvPr>
            <p:ph type="body" sz="quarter" idx="45" hasCustomPrompt="1"/>
          </p:nvPr>
        </p:nvSpPr>
        <p:spPr>
          <a:xfrm>
            <a:off x="1005473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40" name="Text Placeholder 4">
            <a:extLst>
              <a:ext uri="{FF2B5EF4-FFF2-40B4-BE49-F238E27FC236}">
                <a16:creationId xmlns:a16="http://schemas.microsoft.com/office/drawing/2014/main" id="{8B051DED-7DBA-954E-84D8-696F32F899B8}"/>
              </a:ext>
            </a:extLst>
          </p:cNvPr>
          <p:cNvSpPr>
            <a:spLocks noGrp="1"/>
          </p:cNvSpPr>
          <p:nvPr>
            <p:ph type="body" sz="quarter" idx="46" hasCustomPrompt="1"/>
          </p:nvPr>
        </p:nvSpPr>
        <p:spPr>
          <a:xfrm>
            <a:off x="1005473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a:t>Insert title</a:t>
            </a:r>
          </a:p>
        </p:txBody>
      </p:sp>
      <p:sp>
        <p:nvSpPr>
          <p:cNvPr id="41" name="Picture Placeholder 7">
            <a:extLst>
              <a:ext uri="{FF2B5EF4-FFF2-40B4-BE49-F238E27FC236}">
                <a16:creationId xmlns:a16="http://schemas.microsoft.com/office/drawing/2014/main" id="{CFF36F95-2DB5-7F47-A3F3-20BF39ADC5A8}"/>
              </a:ext>
            </a:extLst>
          </p:cNvPr>
          <p:cNvSpPr>
            <a:spLocks noGrp="1"/>
          </p:cNvSpPr>
          <p:nvPr>
            <p:ph type="pic" sz="quarter" idx="47"/>
          </p:nvPr>
        </p:nvSpPr>
        <p:spPr>
          <a:xfrm>
            <a:off x="1043732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p>
        </p:txBody>
      </p:sp>
      <p:sp>
        <p:nvSpPr>
          <p:cNvPr id="3" name="Text Placeholder 3">
            <a:extLst>
              <a:ext uri="{FF2B5EF4-FFF2-40B4-BE49-F238E27FC236}">
                <a16:creationId xmlns:a16="http://schemas.microsoft.com/office/drawing/2014/main" id="{9606B14B-43F9-977A-2570-EE05D89C4555}"/>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6525380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8000">
                <a:solidFill>
                  <a:srgbClr val="5009B5"/>
                </a:solidFill>
                <a:latin typeface="+mj-lt"/>
              </a:defRPr>
            </a:lvl1pPr>
          </a:lstStyle>
          <a:p>
            <a:pPr lvl="0"/>
            <a:r>
              <a:rPr lang="en-US"/>
              <a:t>Thank you!</a:t>
            </a:r>
          </a:p>
        </p:txBody>
      </p:sp>
    </p:spTree>
    <p:extLst>
      <p:ext uri="{BB962C8B-B14F-4D97-AF65-F5344CB8AC3E}">
        <p14:creationId xmlns:p14="http://schemas.microsoft.com/office/powerpoint/2010/main" val="10749313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Purple">
    <p:bg>
      <p:bgPr>
        <a:solidFill>
          <a:srgbClr val="5009B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8000">
                <a:solidFill>
                  <a:schemeClr val="bg1"/>
                </a:solidFill>
                <a:latin typeface="+mj-lt"/>
              </a:defRPr>
            </a:lvl1pPr>
          </a:lstStyle>
          <a:p>
            <a:pPr lvl="0"/>
            <a:r>
              <a:rPr lang="en-US"/>
              <a:t>Thank you!</a:t>
            </a:r>
          </a:p>
        </p:txBody>
      </p:sp>
      <p:pic>
        <p:nvPicPr>
          <p:cNvPr id="9" name="Graphic 8">
            <a:extLst>
              <a:ext uri="{FF2B5EF4-FFF2-40B4-BE49-F238E27FC236}">
                <a16:creationId xmlns:a16="http://schemas.microsoft.com/office/drawing/2014/main" id="{A2275E4F-1DD8-BD4C-839F-E0B290CCE1F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11" name="TextBox 10">
            <a:extLst>
              <a:ext uri="{FF2B5EF4-FFF2-40B4-BE49-F238E27FC236}">
                <a16:creationId xmlns:a16="http://schemas.microsoft.com/office/drawing/2014/main" id="{9FA824AD-9AF3-884E-A622-DF0B54F24716}"/>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bg1"/>
                </a:solidFill>
                <a:latin typeface="Elevance Sans" pitchFamily="2" charset="77"/>
              </a:rPr>
              <a:pPr algn="r"/>
              <a:t>‹#›</a:t>
            </a:fld>
            <a:endParaRPr lang="en-US" sz="900" b="0" i="0">
              <a:solidFill>
                <a:schemeClr val="bg1"/>
              </a:solidFill>
              <a:latin typeface="Elevance Sans" pitchFamily="2" charset="77"/>
            </a:endParaRPr>
          </a:p>
        </p:txBody>
      </p:sp>
    </p:spTree>
    <p:extLst>
      <p:ext uri="{BB962C8B-B14F-4D97-AF65-F5344CB8AC3E}">
        <p14:creationId xmlns:p14="http://schemas.microsoft.com/office/powerpoint/2010/main" val="1987127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Linear Supergraphic 2">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424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20EC642-4CC9-DC4D-BE90-46572834EF99}"/>
              </a:ext>
            </a:extLst>
          </p:cNvPr>
          <p:cNvSpPr/>
          <p:nvPr/>
        </p:nvSpPr>
        <p:spPr>
          <a:xfrm rot="10800000">
            <a:off x="7700406" y="-5517141"/>
            <a:ext cx="8983187" cy="8983187"/>
          </a:xfrm>
          <a:prstGeom prst="arc">
            <a:avLst>
              <a:gd name="adj1" fmla="val 16200000"/>
              <a:gd name="adj2" fmla="val 20840015"/>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a:solidFill>
                <a:schemeClr val="lt1"/>
              </a:solidFill>
              <a:latin typeface="Elevance Sans" pitchFamily="2" charset="77"/>
            </a:endParaRPr>
          </a:p>
        </p:txBody>
      </p:sp>
      <p:cxnSp>
        <p:nvCxnSpPr>
          <p:cNvPr id="8" name="Straight Connector 7">
            <a:extLst>
              <a:ext uri="{FF2B5EF4-FFF2-40B4-BE49-F238E27FC236}">
                <a16:creationId xmlns:a16="http://schemas.microsoft.com/office/drawing/2014/main" id="{FA9F3445-6864-B14F-A29E-23391F292240}"/>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0635C588-6C55-2E43-BC88-265490E0DB15}"/>
              </a:ext>
            </a:extLst>
          </p:cNvPr>
          <p:cNvSpPr/>
          <p:nvPr/>
        </p:nvSpPr>
        <p:spPr>
          <a:xfrm rot="16200000">
            <a:off x="7700406" y="3466048"/>
            <a:ext cx="8983187" cy="8983187"/>
          </a:xfrm>
          <a:prstGeom prst="arc">
            <a:avLst>
              <a:gd name="adj1" fmla="val 17017882"/>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a:solidFill>
                <a:schemeClr val="lt1"/>
              </a:solidFill>
              <a:latin typeface="Elevance Sans" pitchFamily="2" charset="77"/>
            </a:endParaRPr>
          </a:p>
        </p:txBody>
      </p:sp>
      <p:pic>
        <p:nvPicPr>
          <p:cNvPr id="15" name="Graphic 14">
            <a:extLst>
              <a:ext uri="{FF2B5EF4-FFF2-40B4-BE49-F238E27FC236}">
                <a16:creationId xmlns:a16="http://schemas.microsoft.com/office/drawing/2014/main" id="{38087043-B1C0-F448-917B-5850AF56263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5088" y="578424"/>
            <a:ext cx="1785575" cy="384339"/>
          </a:xfrm>
          <a:prstGeom prst="rect">
            <a:avLst/>
          </a:prstGeom>
        </p:spPr>
      </p:pic>
      <p:sp>
        <p:nvSpPr>
          <p:cNvPr id="17" name="Title 1">
            <a:extLst>
              <a:ext uri="{FF2B5EF4-FFF2-40B4-BE49-F238E27FC236}">
                <a16:creationId xmlns:a16="http://schemas.microsoft.com/office/drawing/2014/main" id="{589C51D4-69ED-7B4E-A17D-1AE8A998B922}"/>
              </a:ext>
            </a:extLst>
          </p:cNvPr>
          <p:cNvSpPr>
            <a:spLocks noGrp="1"/>
          </p:cNvSpPr>
          <p:nvPr>
            <p:ph type="ctrTitle" hasCustomPrompt="1"/>
          </p:nvPr>
        </p:nvSpPr>
        <p:spPr>
          <a:xfrm>
            <a:off x="457198" y="3759716"/>
            <a:ext cx="9366251" cy="622714"/>
          </a:xfrm>
        </p:spPr>
        <p:txBody>
          <a:bodyPr vert="horz" anchor="t"/>
          <a:lstStyle>
            <a:lvl1pPr algn="l">
              <a:defRPr sz="5000">
                <a:solidFill>
                  <a:schemeClr val="bg1"/>
                </a:solidFill>
              </a:defRPr>
            </a:lvl1pPr>
          </a:lstStyle>
          <a:p>
            <a:r>
              <a:rPr lang="en-US"/>
              <a:t>Click to add presentation title</a:t>
            </a:r>
          </a:p>
        </p:txBody>
      </p:sp>
      <p:sp>
        <p:nvSpPr>
          <p:cNvPr id="18" name="Subtitle 2">
            <a:extLst>
              <a:ext uri="{FF2B5EF4-FFF2-40B4-BE49-F238E27FC236}">
                <a16:creationId xmlns:a16="http://schemas.microsoft.com/office/drawing/2014/main" id="{302C2242-2804-EE44-ADAF-48FD023883FC}"/>
              </a:ext>
            </a:extLst>
          </p:cNvPr>
          <p:cNvSpPr>
            <a:spLocks noGrp="1"/>
          </p:cNvSpPr>
          <p:nvPr>
            <p:ph type="subTitle" idx="1" hasCustomPrompt="1"/>
          </p:nvPr>
        </p:nvSpPr>
        <p:spPr>
          <a:xfrm>
            <a:off x="457198" y="5382895"/>
            <a:ext cx="5650832" cy="228600"/>
          </a:xfrm>
          <a:prstGeom prst="rect">
            <a:avLst/>
          </a:prstGeo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9" name="Text Placeholder 11">
            <a:extLst>
              <a:ext uri="{FF2B5EF4-FFF2-40B4-BE49-F238E27FC236}">
                <a16:creationId xmlns:a16="http://schemas.microsoft.com/office/drawing/2014/main" id="{2B2F6DB0-6DE3-A540-B328-7DCA1A7E7232}"/>
              </a:ext>
            </a:extLst>
          </p:cNvPr>
          <p:cNvSpPr>
            <a:spLocks noGrp="1"/>
          </p:cNvSpPr>
          <p:nvPr>
            <p:ph type="body" sz="quarter" idx="11" hasCustomPrompt="1"/>
          </p:nvPr>
        </p:nvSpPr>
        <p:spPr>
          <a:xfrm>
            <a:off x="457198" y="5611495"/>
            <a:ext cx="5638800" cy="224536"/>
          </a:xfrm>
          <a:prstGeom prst="rect">
            <a:avLst/>
          </a:prstGeom>
        </p:spPr>
        <p:txBody>
          <a:bodyPr/>
          <a:lstStyle>
            <a:lvl1pPr marL="0" indent="0">
              <a:lnSpc>
                <a:spcPct val="100000"/>
              </a:lnSpc>
              <a:buNone/>
              <a:defRPr sz="1800" b="0" i="0">
                <a:solidFill>
                  <a:schemeClr val="bg1"/>
                </a:solidFill>
                <a:latin typeface="Elevance Sans" pitchFamily="2" charset="77"/>
              </a:defRPr>
            </a:lvl1pPr>
          </a:lstStyle>
          <a:p>
            <a:pPr lvl="0"/>
            <a:r>
              <a:rPr lang="en-US"/>
              <a:t>Click to add date</a:t>
            </a:r>
          </a:p>
        </p:txBody>
      </p:sp>
      <p:pic>
        <p:nvPicPr>
          <p:cNvPr id="4" name="Graphic 3">
            <a:extLst>
              <a:ext uri="{FF2B5EF4-FFF2-40B4-BE49-F238E27FC236}">
                <a16:creationId xmlns:a16="http://schemas.microsoft.com/office/drawing/2014/main" id="{94334622-A469-EA5C-00E1-97753601B4A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996061" y="578755"/>
            <a:ext cx="1786364" cy="463576"/>
          </a:xfrm>
          <a:prstGeom prst="rect">
            <a:avLst/>
          </a:prstGeom>
        </p:spPr>
      </p:pic>
    </p:spTree>
    <p:extLst>
      <p:ext uri="{BB962C8B-B14F-4D97-AF65-F5344CB8AC3E}">
        <p14:creationId xmlns:p14="http://schemas.microsoft.com/office/powerpoint/2010/main" val="609633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1"/>
            </p:custDataLst>
            <p:extLst>
              <p:ext uri="{D42A27DB-BD31-4B8C-83A1-F6EECF244321}">
                <p14:modId xmlns:p14="http://schemas.microsoft.com/office/powerpoint/2010/main" val="14695310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9B01FEFA-64F9-B5E6-D11D-4882880D2CF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58626" y="3162659"/>
            <a:ext cx="2479112" cy="643350"/>
          </a:xfrm>
          <a:prstGeom prst="rect">
            <a:avLst/>
          </a:prstGeom>
        </p:spPr>
      </p:pic>
    </p:spTree>
    <p:extLst>
      <p:ext uri="{BB962C8B-B14F-4D97-AF65-F5344CB8AC3E}">
        <p14:creationId xmlns:p14="http://schemas.microsoft.com/office/powerpoint/2010/main" val="35232315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Elevance Sans" pitchFamily="2" charset="77"/>
            </a:endParaRPr>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2297291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a:t>Click to Edit Master Title Style</a:t>
            </a:r>
          </a:p>
        </p:txBody>
      </p:sp>
      <p:sp>
        <p:nvSpPr>
          <p:cNvPr id="7" name="Text Placeholder 3">
            <a:extLst>
              <a:ext uri="{FF2B5EF4-FFF2-40B4-BE49-F238E27FC236}">
                <a16:creationId xmlns:a16="http://schemas.microsoft.com/office/drawing/2014/main" id="{FC6325F7-455F-AF48-AF72-5340F996A0AB}"/>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Elevance Sans" pitchFamily="2" charset="77"/>
              </a:rPr>
              <a:pPr algn="r"/>
              <a:t>‹#›</a:t>
            </a:fld>
            <a:endParaRPr lang="en-US" sz="900" b="0" i="0">
              <a:solidFill>
                <a:schemeClr val="tx2"/>
              </a:solidFill>
              <a:latin typeface="Elevance Sans" pitchFamily="2" charset="77"/>
            </a:endParaRPr>
          </a:p>
        </p:txBody>
      </p:sp>
      <p:sp>
        <p:nvSpPr>
          <p:cNvPr id="10" name="Text Placeholder 4">
            <a:extLst>
              <a:ext uri="{FF2B5EF4-FFF2-40B4-BE49-F238E27FC236}">
                <a16:creationId xmlns:a16="http://schemas.microsoft.com/office/drawing/2014/main" id="{F82784AF-F5F3-381D-B95C-A2048F44D5DA}"/>
              </a:ext>
            </a:extLst>
          </p:cNvPr>
          <p:cNvSpPr>
            <a:spLocks noGrp="1"/>
          </p:cNvSpPr>
          <p:nvPr>
            <p:ph type="body" sz="quarter" idx="10"/>
          </p:nvPr>
        </p:nvSpPr>
        <p:spPr>
          <a:xfrm>
            <a:off x="457200" y="1694048"/>
            <a:ext cx="11319164" cy="4313052"/>
          </a:xfrm>
        </p:spPr>
        <p:txBody>
          <a:bodyPr/>
          <a:lstStyle>
            <a:lvl2pPr>
              <a:defRPr b="0" i="0">
                <a:latin typeface="Elevance Sans" pitchFamily="2" charset="77"/>
              </a:defRPr>
            </a:lvl2pPr>
            <a:lvl3pPr>
              <a:defRPr b="0" i="0">
                <a:latin typeface="Elevance Sans" pitchFamily="2" charset="77"/>
              </a:defRPr>
            </a:lvl3pPr>
            <a:lvl4pPr>
              <a:defRPr b="0" i="0">
                <a:latin typeface="Elevance Sans" pitchFamily="2" charset="77"/>
              </a:defRPr>
            </a:lvl4pPr>
            <a:lvl5pPr>
              <a:defRPr b="0" i="0">
                <a:latin typeface="Elevance Sa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51416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 Column Text + Blank">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D41C7282-3E5D-E245-98BA-F00051A8A5CC}"/>
              </a:ext>
            </a:extLst>
          </p:cNvPr>
          <p:cNvSpPr>
            <a:spLocks noGrp="1"/>
          </p:cNvSpPr>
          <p:nvPr>
            <p:ph type="title"/>
          </p:nvPr>
        </p:nvSpPr>
        <p:spPr>
          <a:xfrm>
            <a:off x="640080" y="640080"/>
            <a:ext cx="10908792" cy="548640"/>
          </a:xfrm>
          <a:prstGeom prst="rect">
            <a:avLst/>
          </a:prstGeom>
        </p:spPr>
        <p:txBody>
          <a:bodyPr vert="horz" lIns="0" tIns="0" rIns="0" bIns="0" rtlCol="0" anchor="t" anchorCtr="0">
            <a:normAutofit/>
          </a:bodyPr>
          <a:lstStyle>
            <a:lvl1pPr>
              <a:lnSpc>
                <a:spcPct val="114000"/>
              </a:lnSpc>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03F2C30-D4C2-8C47-AE40-D10806BB415E}"/>
              </a:ext>
            </a:extLst>
          </p:cNvPr>
          <p:cNvSpPr>
            <a:spLocks noGrp="1"/>
          </p:cNvSpPr>
          <p:nvPr>
            <p:ph type="body" sz="quarter" idx="10"/>
          </p:nvPr>
        </p:nvSpPr>
        <p:spPr>
          <a:xfrm>
            <a:off x="640080" y="1828800"/>
            <a:ext cx="5486400" cy="3657600"/>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840089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349EB-432C-4953-BEA2-6679213193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B99A49-E66C-4E2F-8CDF-CCB2B8464C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8010C0-7C53-4E46-954B-ABF3296B9BCA}"/>
              </a:ext>
            </a:extLst>
          </p:cNvPr>
          <p:cNvSpPr>
            <a:spLocks noGrp="1"/>
          </p:cNvSpPr>
          <p:nvPr>
            <p:ph type="dt" sz="half" idx="10"/>
          </p:nvPr>
        </p:nvSpPr>
        <p:spPr/>
        <p:txBody>
          <a:bodyPr/>
          <a:lstStyle/>
          <a:p>
            <a:fld id="{CD135337-8CF9-4027-8B5E-DFDF4F954663}" type="datetimeFigureOut">
              <a:rPr lang="en-US" smtClean="0"/>
              <a:t>5/1/2024</a:t>
            </a:fld>
            <a:endParaRPr lang="en-US" dirty="0"/>
          </a:p>
        </p:txBody>
      </p:sp>
      <p:sp>
        <p:nvSpPr>
          <p:cNvPr id="5" name="Footer Placeholder 4">
            <a:extLst>
              <a:ext uri="{FF2B5EF4-FFF2-40B4-BE49-F238E27FC236}">
                <a16:creationId xmlns:a16="http://schemas.microsoft.com/office/drawing/2014/main" id="{682C4BA1-7C16-4E75-BD33-A483FEE7598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D59C304-30AB-401B-BDC8-BB7CFA7B75FA}"/>
              </a:ext>
            </a:extLst>
          </p:cNvPr>
          <p:cNvSpPr>
            <a:spLocks noGrp="1"/>
          </p:cNvSpPr>
          <p:nvPr>
            <p:ph type="sldNum" sz="quarter" idx="12"/>
          </p:nvPr>
        </p:nvSpPr>
        <p:spPr/>
        <p:txBody>
          <a:bodyPr/>
          <a:lstStyle/>
          <a:p>
            <a:fld id="{5F984D6A-F879-4E5B-A24F-6C9FBEAEB4D1}" type="slidenum">
              <a:rPr lang="en-US" smtClean="0"/>
              <a:t>‹#›</a:t>
            </a:fld>
            <a:endParaRPr lang="en-US" dirty="0"/>
          </a:p>
        </p:txBody>
      </p:sp>
    </p:spTree>
    <p:extLst>
      <p:ext uri="{BB962C8B-B14F-4D97-AF65-F5344CB8AC3E}">
        <p14:creationId xmlns:p14="http://schemas.microsoft.com/office/powerpoint/2010/main" val="29093285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Rectangle 3"/>
          <p:cNvSpPr>
            <a:spLocks noGrp="1" noChangeArrowheads="1"/>
          </p:cNvSpPr>
          <p:nvPr>
            <p:ph type="ctrTitle"/>
          </p:nvPr>
        </p:nvSpPr>
        <p:spPr>
          <a:xfrm>
            <a:off x="711200" y="533401"/>
            <a:ext cx="10363200" cy="1066799"/>
          </a:xfrm>
        </p:spPr>
        <p:txBody>
          <a:bodyPr/>
          <a:lstStyle>
            <a:lvl1pPr algn="l">
              <a:defRPr b="1" i="0">
                <a:latin typeface="Century Gothic"/>
                <a:cs typeface="Century Gothic"/>
              </a:defRPr>
            </a:lvl1pPr>
          </a:lstStyle>
          <a:p>
            <a:r>
              <a:rPr lang="en-US" dirty="0"/>
              <a:t>Click to edit Master title style</a:t>
            </a:r>
          </a:p>
        </p:txBody>
      </p:sp>
      <p:sp>
        <p:nvSpPr>
          <p:cNvPr id="4" name="Rectangle 5"/>
          <p:cNvSpPr>
            <a:spLocks noGrp="1" noChangeArrowheads="1"/>
          </p:cNvSpPr>
          <p:nvPr>
            <p:ph type="subTitle" idx="1"/>
          </p:nvPr>
        </p:nvSpPr>
        <p:spPr>
          <a:xfrm>
            <a:off x="711200" y="1752600"/>
            <a:ext cx="9144000" cy="3200400"/>
          </a:xfrm>
        </p:spPr>
        <p:txBody>
          <a:bodyPr/>
          <a:lstStyle>
            <a:lvl1pPr marL="0" indent="0" algn="l">
              <a:buClr>
                <a:schemeClr val="accent6"/>
              </a:buClr>
              <a:buFont typeface="Arial"/>
              <a:buChar char="•"/>
              <a:defRPr b="0" i="0">
                <a:solidFill>
                  <a:schemeClr val="bg2">
                    <a:lumMod val="50000"/>
                  </a:schemeClr>
                </a:solidFill>
                <a:latin typeface="Century Gothic"/>
                <a:cs typeface="Century Gothic"/>
              </a:defRPr>
            </a:lvl1pPr>
          </a:lstStyle>
          <a:p>
            <a:r>
              <a:rPr lang="en-US"/>
              <a:t>Click to edit Master subtitle style</a:t>
            </a:r>
            <a:endParaRPr lang="en-US" dirty="0"/>
          </a:p>
        </p:txBody>
      </p:sp>
      <p:sp>
        <p:nvSpPr>
          <p:cNvPr id="5" name="Slide Number Placeholder 4"/>
          <p:cNvSpPr>
            <a:spLocks noGrp="1" noChangeArrowheads="1"/>
          </p:cNvSpPr>
          <p:nvPr>
            <p:ph type="sldNum" sz="quarter" idx="10"/>
          </p:nvPr>
        </p:nvSpPr>
        <p:spPr>
          <a:xfrm>
            <a:off x="609600" y="6477000"/>
            <a:ext cx="2844800" cy="476250"/>
          </a:xfrm>
          <a:prstGeom prst="rect">
            <a:avLst/>
          </a:prstGeom>
        </p:spPr>
        <p:txBody>
          <a:bodyPr vert="horz" wrap="square" lIns="91440" tIns="45720" rIns="91440" bIns="45720" numCol="1" anchor="t" anchorCtr="0" compatLnSpc="1">
            <a:prstTxWarp prst="textNoShape">
              <a:avLst/>
            </a:prstTxWarp>
          </a:bodyPr>
          <a:lstStyle>
            <a:lvl1pPr>
              <a:defRPr sz="1400">
                <a:solidFill>
                  <a:schemeClr val="bg1"/>
                </a:solidFill>
              </a:defRPr>
            </a:lvl1pPr>
          </a:lstStyle>
          <a:p>
            <a:fld id="{6673436F-A4E6-4E11-AB45-484143235E12}" type="slidenum">
              <a:rPr lang="en-US" altLang="en-US"/>
              <a:pPr/>
              <a:t>‹#›</a:t>
            </a:fld>
            <a:endParaRPr lang="en-US" altLang="en-US"/>
          </a:p>
        </p:txBody>
      </p:sp>
    </p:spTree>
    <p:extLst>
      <p:ext uri="{BB962C8B-B14F-4D97-AF65-F5344CB8AC3E}">
        <p14:creationId xmlns:p14="http://schemas.microsoft.com/office/powerpoint/2010/main" val="21351607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Full Imag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110158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975EBB8B-1207-DF46-B0BB-2ECF56904B51}"/>
              </a:ext>
            </a:extLst>
          </p:cNvPr>
          <p:cNvSpPr>
            <a:spLocks noGrp="1"/>
          </p:cNvSpPr>
          <p:nvPr>
            <p:ph type="pic" sz="quarter" idx="10"/>
          </p:nvPr>
        </p:nvSpPr>
        <p:spPr>
          <a:xfrm>
            <a:off x="0" y="0"/>
            <a:ext cx="12192000" cy="6858000"/>
          </a:xfrm>
          <a:prstGeom prst="rect">
            <a:avLst/>
          </a:prstGeom>
          <a:solidFill>
            <a:schemeClr val="bg1">
              <a:lumMod val="95000"/>
            </a:schemeClr>
          </a:solidFill>
        </p:spPr>
        <p:txBody>
          <a:bodyPr/>
          <a:lstStyle>
            <a:lvl1pPr marL="0" indent="0">
              <a:buNone/>
              <a:defRPr sz="1200"/>
            </a:lvl1pPr>
          </a:lstStyle>
          <a:p>
            <a:r>
              <a:rPr lang="en-US"/>
              <a:t>Click icon to add picture</a:t>
            </a:r>
          </a:p>
        </p:txBody>
      </p:sp>
      <p:sp>
        <p:nvSpPr>
          <p:cNvPr id="11" name="Text Placeholder 10">
            <a:extLst>
              <a:ext uri="{FF2B5EF4-FFF2-40B4-BE49-F238E27FC236}">
                <a16:creationId xmlns:a16="http://schemas.microsoft.com/office/drawing/2014/main" id="{A594C2A4-538B-4E49-80F8-EE4DD8A3842A}"/>
              </a:ext>
            </a:extLst>
          </p:cNvPr>
          <p:cNvSpPr>
            <a:spLocks noGrp="1"/>
          </p:cNvSpPr>
          <p:nvPr>
            <p:ph type="body" sz="quarter" idx="13"/>
          </p:nvPr>
        </p:nvSpPr>
        <p:spPr>
          <a:xfrm>
            <a:off x="0" y="0"/>
            <a:ext cx="12192000" cy="6858000"/>
          </a:xfrm>
          <a:gradFill>
            <a:gsLst>
              <a:gs pos="0">
                <a:srgbClr val="000000">
                  <a:alpha val="34000"/>
                </a:srgbClr>
              </a:gs>
              <a:gs pos="100000">
                <a:srgbClr val="000000">
                  <a:alpha val="34742"/>
                </a:srgbClr>
              </a:gs>
            </a:gsLst>
            <a:lin ang="0" scaled="0"/>
          </a:gradFill>
        </p:spPr>
        <p:txBody>
          <a:bodyPr vert="horz" lIns="0" tIns="0" rIns="0" bIns="0" rtlCol="0">
            <a:noAutofit/>
          </a:bodyPr>
          <a:lstStyle>
            <a:lvl1pPr>
              <a:defRPr lang="en-US" sz="100">
                <a:solidFill>
                  <a:schemeClr val="bg1">
                    <a:alpha val="0"/>
                  </a:schemeClr>
                </a:solidFill>
              </a:defRPr>
            </a:lvl1pPr>
          </a:lstStyle>
          <a:p>
            <a:pPr lvl="0"/>
            <a:r>
              <a:rPr lang="en-US"/>
              <a:t>Click to edit Master text styles</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0307" y="4517136"/>
            <a:ext cx="5650832" cy="228600"/>
          </a:xfrm>
          <a:prstGeom prst="rect">
            <a:avLst/>
          </a:prstGeo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7" name="Text Placeholder 11">
            <a:extLst>
              <a:ext uri="{FF2B5EF4-FFF2-40B4-BE49-F238E27FC236}">
                <a16:creationId xmlns:a16="http://schemas.microsoft.com/office/drawing/2014/main" id="{888294A5-A4D0-A14B-A725-86332813F126}"/>
              </a:ext>
            </a:extLst>
          </p:cNvPr>
          <p:cNvSpPr>
            <a:spLocks noGrp="1"/>
          </p:cNvSpPr>
          <p:nvPr>
            <p:ph type="body" sz="quarter" idx="11" hasCustomPrompt="1"/>
          </p:nvPr>
        </p:nvSpPr>
        <p:spPr>
          <a:xfrm>
            <a:off x="410307" y="4758997"/>
            <a:ext cx="5638800" cy="224536"/>
          </a:xfrm>
          <a:prstGeom prst="rect">
            <a:avLst/>
          </a:prstGeom>
        </p:spPr>
        <p:txBody>
          <a:bodyPr/>
          <a:lstStyle>
            <a:lvl1pPr marL="0" indent="0">
              <a:lnSpc>
                <a:spcPct val="100000"/>
              </a:lnSpc>
              <a:buNone/>
              <a:defRPr sz="1800" b="0" i="0">
                <a:solidFill>
                  <a:schemeClr val="bg1"/>
                </a:solidFill>
                <a:latin typeface="Elevance Sans" pitchFamily="2" charset="77"/>
              </a:defRPr>
            </a:lvl1pPr>
          </a:lstStyle>
          <a:p>
            <a:pPr lvl="0"/>
            <a:r>
              <a:rPr lang="en-US"/>
              <a:t>Click to add date</a:t>
            </a:r>
          </a:p>
        </p:txBody>
      </p:sp>
      <p:sp>
        <p:nvSpPr>
          <p:cNvPr id="10" name="Title 1">
            <a:extLst>
              <a:ext uri="{FF2B5EF4-FFF2-40B4-BE49-F238E27FC236}">
                <a16:creationId xmlns:a16="http://schemas.microsoft.com/office/drawing/2014/main" id="{5CEDBC19-C442-234E-A082-5522435460F1}"/>
              </a:ext>
            </a:extLst>
          </p:cNvPr>
          <p:cNvSpPr>
            <a:spLocks noGrp="1"/>
          </p:cNvSpPr>
          <p:nvPr>
            <p:ph type="ctrTitle" hasCustomPrompt="1"/>
          </p:nvPr>
        </p:nvSpPr>
        <p:spPr>
          <a:xfrm>
            <a:off x="410307" y="2587226"/>
            <a:ext cx="8354282" cy="1572610"/>
          </a:xfrm>
        </p:spPr>
        <p:txBody>
          <a:bodyPr vert="horz" anchor="b" anchorCtr="0"/>
          <a:lstStyle>
            <a:lvl1pPr algn="l">
              <a:defRPr sz="5200">
                <a:solidFill>
                  <a:schemeClr val="bg1"/>
                </a:solidFill>
              </a:defRPr>
            </a:lvl1pPr>
          </a:lstStyle>
          <a:p>
            <a:r>
              <a:rPr lang="en-US"/>
              <a:t>Click to add </a:t>
            </a:r>
            <a:br>
              <a:rPr lang="en-US"/>
            </a:br>
            <a:r>
              <a:rPr lang="en-US"/>
              <a:t>presentation title</a:t>
            </a:r>
          </a:p>
        </p:txBody>
      </p:sp>
      <p:sp>
        <p:nvSpPr>
          <p:cNvPr id="78" name="Text Placeholder 77">
            <a:extLst>
              <a:ext uri="{FF2B5EF4-FFF2-40B4-BE49-F238E27FC236}">
                <a16:creationId xmlns:a16="http://schemas.microsoft.com/office/drawing/2014/main" id="{40DAE6FE-4453-6A49-BCBC-8EA029D4F6D3}"/>
              </a:ext>
            </a:extLst>
          </p:cNvPr>
          <p:cNvSpPr>
            <a:spLocks noGrp="1"/>
          </p:cNvSpPr>
          <p:nvPr>
            <p:ph type="body" sz="quarter" idx="14"/>
          </p:nvPr>
        </p:nvSpPr>
        <p:spPr>
          <a:xfrm>
            <a:off x="9996061" y="578755"/>
            <a:ext cx="1785077" cy="463366"/>
          </a:xfrm>
          <a:custGeom>
            <a:avLst/>
            <a:gdLst>
              <a:gd name="connsiteX0" fmla="*/ 609398 w 1785077"/>
              <a:gd name="connsiteY0" fmla="*/ 422691 h 463366"/>
              <a:gd name="connsiteX1" fmla="*/ 609398 w 1785077"/>
              <a:gd name="connsiteY1" fmla="*/ 445690 h 463366"/>
              <a:gd name="connsiteX2" fmla="*/ 628578 w 1785077"/>
              <a:gd name="connsiteY2" fmla="*/ 445690 h 463366"/>
              <a:gd name="connsiteX3" fmla="*/ 628578 w 1785077"/>
              <a:gd name="connsiteY3" fmla="*/ 445720 h 463366"/>
              <a:gd name="connsiteX4" fmla="*/ 642372 w 1785077"/>
              <a:gd name="connsiteY4" fmla="*/ 434206 h 463366"/>
              <a:gd name="connsiteX5" fmla="*/ 628578 w 1785077"/>
              <a:gd name="connsiteY5" fmla="*/ 422691 h 463366"/>
              <a:gd name="connsiteX6" fmla="*/ 1511976 w 1785077"/>
              <a:gd name="connsiteY6" fmla="*/ 407797 h 463366"/>
              <a:gd name="connsiteX7" fmla="*/ 1493932 w 1785077"/>
              <a:gd name="connsiteY7" fmla="*/ 427387 h 463366"/>
              <a:gd name="connsiteX8" fmla="*/ 1511976 w 1785077"/>
              <a:gd name="connsiteY8" fmla="*/ 447126 h 463366"/>
              <a:gd name="connsiteX9" fmla="*/ 1530019 w 1785077"/>
              <a:gd name="connsiteY9" fmla="*/ 427387 h 463366"/>
              <a:gd name="connsiteX10" fmla="*/ 1511976 w 1785077"/>
              <a:gd name="connsiteY10" fmla="*/ 407797 h 463366"/>
              <a:gd name="connsiteX11" fmla="*/ 1181094 w 1785077"/>
              <a:gd name="connsiteY11" fmla="*/ 407797 h 463366"/>
              <a:gd name="connsiteX12" fmla="*/ 1163051 w 1785077"/>
              <a:gd name="connsiteY12" fmla="*/ 427387 h 463366"/>
              <a:gd name="connsiteX13" fmla="*/ 1181094 w 1785077"/>
              <a:gd name="connsiteY13" fmla="*/ 447126 h 463366"/>
              <a:gd name="connsiteX14" fmla="*/ 1199137 w 1785077"/>
              <a:gd name="connsiteY14" fmla="*/ 427387 h 463366"/>
              <a:gd name="connsiteX15" fmla="*/ 1181094 w 1785077"/>
              <a:gd name="connsiteY15" fmla="*/ 407797 h 463366"/>
              <a:gd name="connsiteX16" fmla="*/ 1051680 w 1785077"/>
              <a:gd name="connsiteY16" fmla="*/ 407797 h 463366"/>
              <a:gd name="connsiteX17" fmla="*/ 1033637 w 1785077"/>
              <a:gd name="connsiteY17" fmla="*/ 427387 h 463366"/>
              <a:gd name="connsiteX18" fmla="*/ 1051680 w 1785077"/>
              <a:gd name="connsiteY18" fmla="*/ 447126 h 463366"/>
              <a:gd name="connsiteX19" fmla="*/ 1069723 w 1785077"/>
              <a:gd name="connsiteY19" fmla="*/ 427387 h 463366"/>
              <a:gd name="connsiteX20" fmla="*/ 1051680 w 1785077"/>
              <a:gd name="connsiteY20" fmla="*/ 407797 h 463366"/>
              <a:gd name="connsiteX21" fmla="*/ 859459 w 1785077"/>
              <a:gd name="connsiteY21" fmla="*/ 407797 h 463366"/>
              <a:gd name="connsiteX22" fmla="*/ 841416 w 1785077"/>
              <a:gd name="connsiteY22" fmla="*/ 427387 h 463366"/>
              <a:gd name="connsiteX23" fmla="*/ 859459 w 1785077"/>
              <a:gd name="connsiteY23" fmla="*/ 447126 h 463366"/>
              <a:gd name="connsiteX24" fmla="*/ 877502 w 1785077"/>
              <a:gd name="connsiteY24" fmla="*/ 427387 h 463366"/>
              <a:gd name="connsiteX25" fmla="*/ 859459 w 1785077"/>
              <a:gd name="connsiteY25" fmla="*/ 407797 h 463366"/>
              <a:gd name="connsiteX26" fmla="*/ 1432981 w 1785077"/>
              <a:gd name="connsiteY26" fmla="*/ 406242 h 463366"/>
              <a:gd name="connsiteX27" fmla="*/ 1416643 w 1785077"/>
              <a:gd name="connsiteY27" fmla="*/ 420149 h 463366"/>
              <a:gd name="connsiteX28" fmla="*/ 1449169 w 1785077"/>
              <a:gd name="connsiteY28" fmla="*/ 420149 h 463366"/>
              <a:gd name="connsiteX29" fmla="*/ 1432981 w 1785077"/>
              <a:gd name="connsiteY29" fmla="*/ 406242 h 463366"/>
              <a:gd name="connsiteX30" fmla="*/ 705000 w 1785077"/>
              <a:gd name="connsiteY30" fmla="*/ 406242 h 463366"/>
              <a:gd name="connsiteX31" fmla="*/ 688662 w 1785077"/>
              <a:gd name="connsiteY31" fmla="*/ 420149 h 463366"/>
              <a:gd name="connsiteX32" fmla="*/ 721188 w 1785077"/>
              <a:gd name="connsiteY32" fmla="*/ 420149 h 463366"/>
              <a:gd name="connsiteX33" fmla="*/ 705000 w 1785077"/>
              <a:gd name="connsiteY33" fmla="*/ 406242 h 463366"/>
              <a:gd name="connsiteX34" fmla="*/ 986749 w 1785077"/>
              <a:gd name="connsiteY34" fmla="*/ 393441 h 463366"/>
              <a:gd name="connsiteX35" fmla="*/ 1004074 w 1785077"/>
              <a:gd name="connsiteY35" fmla="*/ 393441 h 463366"/>
              <a:gd name="connsiteX36" fmla="*/ 1004074 w 1785077"/>
              <a:gd name="connsiteY36" fmla="*/ 434654 h 463366"/>
              <a:gd name="connsiteX37" fmla="*/ 1004074 w 1785077"/>
              <a:gd name="connsiteY37" fmla="*/ 461482 h 463366"/>
              <a:gd name="connsiteX38" fmla="*/ 986749 w 1785077"/>
              <a:gd name="connsiteY38" fmla="*/ 461482 h 463366"/>
              <a:gd name="connsiteX39" fmla="*/ 904881 w 1785077"/>
              <a:gd name="connsiteY39" fmla="*/ 393441 h 463366"/>
              <a:gd name="connsiteX40" fmla="*/ 923912 w 1785077"/>
              <a:gd name="connsiteY40" fmla="*/ 393441 h 463366"/>
              <a:gd name="connsiteX41" fmla="*/ 941237 w 1785077"/>
              <a:gd name="connsiteY41" fmla="*/ 445989 h 463366"/>
              <a:gd name="connsiteX42" fmla="*/ 958861 w 1785077"/>
              <a:gd name="connsiteY42" fmla="*/ 393441 h 463366"/>
              <a:gd name="connsiteX43" fmla="*/ 976635 w 1785077"/>
              <a:gd name="connsiteY43" fmla="*/ 393441 h 463366"/>
              <a:gd name="connsiteX44" fmla="*/ 952069 w 1785077"/>
              <a:gd name="connsiteY44" fmla="*/ 461482 h 463366"/>
              <a:gd name="connsiteX45" fmla="*/ 929477 w 1785077"/>
              <a:gd name="connsiteY45" fmla="*/ 461482 h 463366"/>
              <a:gd name="connsiteX46" fmla="*/ 1509133 w 1785077"/>
              <a:gd name="connsiteY46" fmla="*/ 391646 h 463366"/>
              <a:gd name="connsiteX47" fmla="*/ 1530019 w 1785077"/>
              <a:gd name="connsiteY47" fmla="*/ 402443 h 463366"/>
              <a:gd name="connsiteX48" fmla="*/ 1530019 w 1785077"/>
              <a:gd name="connsiteY48" fmla="*/ 393471 h 463366"/>
              <a:gd name="connsiteX49" fmla="*/ 1547344 w 1785077"/>
              <a:gd name="connsiteY49" fmla="*/ 393471 h 463366"/>
              <a:gd name="connsiteX50" fmla="*/ 1547344 w 1785077"/>
              <a:gd name="connsiteY50" fmla="*/ 461512 h 463366"/>
              <a:gd name="connsiteX51" fmla="*/ 1530019 w 1785077"/>
              <a:gd name="connsiteY51" fmla="*/ 461512 h 463366"/>
              <a:gd name="connsiteX52" fmla="*/ 1530019 w 1785077"/>
              <a:gd name="connsiteY52" fmla="*/ 451851 h 463366"/>
              <a:gd name="connsiteX53" fmla="*/ 1509133 w 1785077"/>
              <a:gd name="connsiteY53" fmla="*/ 463366 h 463366"/>
              <a:gd name="connsiteX54" fmla="*/ 1476607 w 1785077"/>
              <a:gd name="connsiteY54" fmla="*/ 427446 h 463366"/>
              <a:gd name="connsiteX55" fmla="*/ 1509133 w 1785077"/>
              <a:gd name="connsiteY55" fmla="*/ 391646 h 463366"/>
              <a:gd name="connsiteX56" fmla="*/ 1432681 w 1785077"/>
              <a:gd name="connsiteY56" fmla="*/ 391646 h 463366"/>
              <a:gd name="connsiteX57" fmla="*/ 1467062 w 1785077"/>
              <a:gd name="connsiteY57" fmla="*/ 426160 h 463366"/>
              <a:gd name="connsiteX58" fmla="*/ 1466673 w 1785077"/>
              <a:gd name="connsiteY58" fmla="*/ 432232 h 463366"/>
              <a:gd name="connsiteX59" fmla="*/ 1416224 w 1785077"/>
              <a:gd name="connsiteY59" fmla="*/ 432232 h 463366"/>
              <a:gd name="connsiteX60" fmla="*/ 1435554 w 1785077"/>
              <a:gd name="connsiteY60" fmla="*/ 448143 h 463366"/>
              <a:gd name="connsiteX61" fmla="*/ 1452310 w 1785077"/>
              <a:gd name="connsiteY61" fmla="*/ 441055 h 463366"/>
              <a:gd name="connsiteX62" fmla="*/ 1461257 w 1785077"/>
              <a:gd name="connsiteY62" fmla="*/ 452988 h 463366"/>
              <a:gd name="connsiteX63" fmla="*/ 1434955 w 1785077"/>
              <a:gd name="connsiteY63" fmla="*/ 463366 h 463366"/>
              <a:gd name="connsiteX64" fmla="*/ 1398450 w 1785077"/>
              <a:gd name="connsiteY64" fmla="*/ 427446 h 463366"/>
              <a:gd name="connsiteX65" fmla="*/ 1432681 w 1785077"/>
              <a:gd name="connsiteY65" fmla="*/ 391646 h 463366"/>
              <a:gd name="connsiteX66" fmla="*/ 1178252 w 1785077"/>
              <a:gd name="connsiteY66" fmla="*/ 391646 h 463366"/>
              <a:gd name="connsiteX67" fmla="*/ 1199137 w 1785077"/>
              <a:gd name="connsiteY67" fmla="*/ 402443 h 463366"/>
              <a:gd name="connsiteX68" fmla="*/ 1199137 w 1785077"/>
              <a:gd name="connsiteY68" fmla="*/ 393471 h 463366"/>
              <a:gd name="connsiteX69" fmla="*/ 1216463 w 1785077"/>
              <a:gd name="connsiteY69" fmla="*/ 393471 h 463366"/>
              <a:gd name="connsiteX70" fmla="*/ 1216463 w 1785077"/>
              <a:gd name="connsiteY70" fmla="*/ 461512 h 463366"/>
              <a:gd name="connsiteX71" fmla="*/ 1199137 w 1785077"/>
              <a:gd name="connsiteY71" fmla="*/ 461512 h 463366"/>
              <a:gd name="connsiteX72" fmla="*/ 1199137 w 1785077"/>
              <a:gd name="connsiteY72" fmla="*/ 451851 h 463366"/>
              <a:gd name="connsiteX73" fmla="*/ 1178252 w 1785077"/>
              <a:gd name="connsiteY73" fmla="*/ 463366 h 463366"/>
              <a:gd name="connsiteX74" fmla="*/ 1145726 w 1785077"/>
              <a:gd name="connsiteY74" fmla="*/ 427446 h 463366"/>
              <a:gd name="connsiteX75" fmla="*/ 1178252 w 1785077"/>
              <a:gd name="connsiteY75" fmla="*/ 391646 h 463366"/>
              <a:gd name="connsiteX76" fmla="*/ 856616 w 1785077"/>
              <a:gd name="connsiteY76" fmla="*/ 391646 h 463366"/>
              <a:gd name="connsiteX77" fmla="*/ 877502 w 1785077"/>
              <a:gd name="connsiteY77" fmla="*/ 402443 h 463366"/>
              <a:gd name="connsiteX78" fmla="*/ 877502 w 1785077"/>
              <a:gd name="connsiteY78" fmla="*/ 393471 h 463366"/>
              <a:gd name="connsiteX79" fmla="*/ 894827 w 1785077"/>
              <a:gd name="connsiteY79" fmla="*/ 393471 h 463366"/>
              <a:gd name="connsiteX80" fmla="*/ 894827 w 1785077"/>
              <a:gd name="connsiteY80" fmla="*/ 461512 h 463366"/>
              <a:gd name="connsiteX81" fmla="*/ 877502 w 1785077"/>
              <a:gd name="connsiteY81" fmla="*/ 461512 h 463366"/>
              <a:gd name="connsiteX82" fmla="*/ 877502 w 1785077"/>
              <a:gd name="connsiteY82" fmla="*/ 451851 h 463366"/>
              <a:gd name="connsiteX83" fmla="*/ 856616 w 1785077"/>
              <a:gd name="connsiteY83" fmla="*/ 463366 h 463366"/>
              <a:gd name="connsiteX84" fmla="*/ 824091 w 1785077"/>
              <a:gd name="connsiteY84" fmla="*/ 427446 h 463366"/>
              <a:gd name="connsiteX85" fmla="*/ 856616 w 1785077"/>
              <a:gd name="connsiteY85" fmla="*/ 391646 h 463366"/>
              <a:gd name="connsiteX86" fmla="*/ 704701 w 1785077"/>
              <a:gd name="connsiteY86" fmla="*/ 391646 h 463366"/>
              <a:gd name="connsiteX87" fmla="*/ 739081 w 1785077"/>
              <a:gd name="connsiteY87" fmla="*/ 426160 h 463366"/>
              <a:gd name="connsiteX88" fmla="*/ 738692 w 1785077"/>
              <a:gd name="connsiteY88" fmla="*/ 432232 h 463366"/>
              <a:gd name="connsiteX89" fmla="*/ 688243 w 1785077"/>
              <a:gd name="connsiteY89" fmla="*/ 432232 h 463366"/>
              <a:gd name="connsiteX90" fmla="*/ 707573 w 1785077"/>
              <a:gd name="connsiteY90" fmla="*/ 448143 h 463366"/>
              <a:gd name="connsiteX91" fmla="*/ 724330 w 1785077"/>
              <a:gd name="connsiteY91" fmla="*/ 441055 h 463366"/>
              <a:gd name="connsiteX92" fmla="*/ 733276 w 1785077"/>
              <a:gd name="connsiteY92" fmla="*/ 452988 h 463366"/>
              <a:gd name="connsiteX93" fmla="*/ 706975 w 1785077"/>
              <a:gd name="connsiteY93" fmla="*/ 463366 h 463366"/>
              <a:gd name="connsiteX94" fmla="*/ 670469 w 1785077"/>
              <a:gd name="connsiteY94" fmla="*/ 427446 h 463366"/>
              <a:gd name="connsiteX95" fmla="*/ 704701 w 1785077"/>
              <a:gd name="connsiteY95" fmla="*/ 391646 h 463366"/>
              <a:gd name="connsiteX96" fmla="*/ 1051680 w 1785077"/>
              <a:gd name="connsiteY96" fmla="*/ 391616 h 463366"/>
              <a:gd name="connsiteX97" fmla="*/ 1087048 w 1785077"/>
              <a:gd name="connsiteY97" fmla="*/ 427417 h 463366"/>
              <a:gd name="connsiteX98" fmla="*/ 1051680 w 1785077"/>
              <a:gd name="connsiteY98" fmla="*/ 463336 h 463366"/>
              <a:gd name="connsiteX99" fmla="*/ 1016312 w 1785077"/>
              <a:gd name="connsiteY99" fmla="*/ 427417 h 463366"/>
              <a:gd name="connsiteX100" fmla="*/ 1051680 w 1785077"/>
              <a:gd name="connsiteY100" fmla="*/ 391616 h 463366"/>
              <a:gd name="connsiteX101" fmla="*/ 1133219 w 1785077"/>
              <a:gd name="connsiteY101" fmla="*/ 391587 h 463366"/>
              <a:gd name="connsiteX102" fmla="*/ 1144020 w 1785077"/>
              <a:gd name="connsiteY102" fmla="*/ 394876 h 463366"/>
              <a:gd name="connsiteX103" fmla="*/ 1136929 w 1785077"/>
              <a:gd name="connsiteY103" fmla="*/ 411206 h 463366"/>
              <a:gd name="connsiteX104" fmla="*/ 1127833 w 1785077"/>
              <a:gd name="connsiteY104" fmla="*/ 408365 h 463366"/>
              <a:gd name="connsiteX105" fmla="*/ 1116462 w 1785077"/>
              <a:gd name="connsiteY105" fmla="*/ 423409 h 463366"/>
              <a:gd name="connsiteX106" fmla="*/ 1116462 w 1785077"/>
              <a:gd name="connsiteY106" fmla="*/ 461482 h 463366"/>
              <a:gd name="connsiteX107" fmla="*/ 1099137 w 1785077"/>
              <a:gd name="connsiteY107" fmla="*/ 461482 h 463366"/>
              <a:gd name="connsiteX108" fmla="*/ 1099137 w 1785077"/>
              <a:gd name="connsiteY108" fmla="*/ 393441 h 463366"/>
              <a:gd name="connsiteX109" fmla="*/ 1116462 w 1785077"/>
              <a:gd name="connsiteY109" fmla="*/ 393441 h 463366"/>
              <a:gd name="connsiteX110" fmla="*/ 1116462 w 1785077"/>
              <a:gd name="connsiteY110" fmla="*/ 403520 h 463366"/>
              <a:gd name="connsiteX111" fmla="*/ 1133219 w 1785077"/>
              <a:gd name="connsiteY111" fmla="*/ 391587 h 463366"/>
              <a:gd name="connsiteX112" fmla="*/ 609398 w 1785077"/>
              <a:gd name="connsiteY112" fmla="*/ 386173 h 463366"/>
              <a:gd name="connsiteX113" fmla="*/ 609398 w 1785077"/>
              <a:gd name="connsiteY113" fmla="*/ 386203 h 463366"/>
              <a:gd name="connsiteX114" fmla="*/ 609398 w 1785077"/>
              <a:gd name="connsiteY114" fmla="*/ 408066 h 463366"/>
              <a:gd name="connsiteX115" fmla="*/ 626603 w 1785077"/>
              <a:gd name="connsiteY115" fmla="*/ 408066 h 463366"/>
              <a:gd name="connsiteX116" fmla="*/ 639829 w 1785077"/>
              <a:gd name="connsiteY116" fmla="*/ 397120 h 463366"/>
              <a:gd name="connsiteX117" fmla="*/ 626603 w 1785077"/>
              <a:gd name="connsiteY117" fmla="*/ 386173 h 463366"/>
              <a:gd name="connsiteX118" fmla="*/ 1608595 w 1785077"/>
              <a:gd name="connsiteY118" fmla="*/ 375855 h 463366"/>
              <a:gd name="connsiteX119" fmla="*/ 1626069 w 1785077"/>
              <a:gd name="connsiteY119" fmla="*/ 375855 h 463366"/>
              <a:gd name="connsiteX120" fmla="*/ 1626069 w 1785077"/>
              <a:gd name="connsiteY120" fmla="*/ 393471 h 463366"/>
              <a:gd name="connsiteX121" fmla="*/ 1644412 w 1785077"/>
              <a:gd name="connsiteY121" fmla="*/ 393471 h 463366"/>
              <a:gd name="connsiteX122" fmla="*/ 1644412 w 1785077"/>
              <a:gd name="connsiteY122" fmla="*/ 408814 h 463366"/>
              <a:gd name="connsiteX123" fmla="*/ 1626219 w 1785077"/>
              <a:gd name="connsiteY123" fmla="*/ 408814 h 463366"/>
              <a:gd name="connsiteX124" fmla="*/ 1626219 w 1785077"/>
              <a:gd name="connsiteY124" fmla="*/ 437795 h 463366"/>
              <a:gd name="connsiteX125" fmla="*/ 1633879 w 1785077"/>
              <a:gd name="connsiteY125" fmla="*/ 447156 h 463366"/>
              <a:gd name="connsiteX126" fmla="*/ 1641988 w 1785077"/>
              <a:gd name="connsiteY126" fmla="*/ 443746 h 463366"/>
              <a:gd name="connsiteX127" fmla="*/ 1649648 w 1785077"/>
              <a:gd name="connsiteY127" fmla="*/ 456667 h 463366"/>
              <a:gd name="connsiteX128" fmla="*/ 1631186 w 1785077"/>
              <a:gd name="connsiteY128" fmla="*/ 463336 h 463366"/>
              <a:gd name="connsiteX129" fmla="*/ 1608595 w 1785077"/>
              <a:gd name="connsiteY129" fmla="*/ 438213 h 463366"/>
              <a:gd name="connsiteX130" fmla="*/ 1608595 w 1785077"/>
              <a:gd name="connsiteY130" fmla="*/ 408814 h 463366"/>
              <a:gd name="connsiteX131" fmla="*/ 1596656 w 1785077"/>
              <a:gd name="connsiteY131" fmla="*/ 408814 h 463366"/>
              <a:gd name="connsiteX132" fmla="*/ 1596656 w 1785077"/>
              <a:gd name="connsiteY132" fmla="*/ 393471 h 463366"/>
              <a:gd name="connsiteX133" fmla="*/ 1608595 w 1785077"/>
              <a:gd name="connsiteY133" fmla="*/ 393471 h 463366"/>
              <a:gd name="connsiteX134" fmla="*/ 591654 w 1785077"/>
              <a:gd name="connsiteY134" fmla="*/ 370591 h 463366"/>
              <a:gd name="connsiteX135" fmla="*/ 591804 w 1785077"/>
              <a:gd name="connsiteY135" fmla="*/ 370591 h 463366"/>
              <a:gd name="connsiteX136" fmla="*/ 609428 w 1785077"/>
              <a:gd name="connsiteY136" fmla="*/ 370591 h 463366"/>
              <a:gd name="connsiteX137" fmla="*/ 628339 w 1785077"/>
              <a:gd name="connsiteY137" fmla="*/ 370591 h 463366"/>
              <a:gd name="connsiteX138" fmla="*/ 658321 w 1785077"/>
              <a:gd name="connsiteY138" fmla="*/ 395714 h 463366"/>
              <a:gd name="connsiteX139" fmla="*/ 644826 w 1785077"/>
              <a:gd name="connsiteY139" fmla="*/ 414735 h 463366"/>
              <a:gd name="connsiteX140" fmla="*/ 660834 w 1785077"/>
              <a:gd name="connsiteY140" fmla="*/ 435910 h 463366"/>
              <a:gd name="connsiteX141" fmla="*/ 630433 w 1785077"/>
              <a:gd name="connsiteY141" fmla="*/ 461482 h 463366"/>
              <a:gd name="connsiteX142" fmla="*/ 591654 w 1785077"/>
              <a:gd name="connsiteY142" fmla="*/ 461482 h 463366"/>
              <a:gd name="connsiteX143" fmla="*/ 1306678 w 1785077"/>
              <a:gd name="connsiteY143" fmla="*/ 370442 h 463366"/>
              <a:gd name="connsiteX144" fmla="*/ 1324452 w 1785077"/>
              <a:gd name="connsiteY144" fmla="*/ 370442 h 463366"/>
              <a:gd name="connsiteX145" fmla="*/ 1324452 w 1785077"/>
              <a:gd name="connsiteY145" fmla="*/ 406660 h 463366"/>
              <a:gd name="connsiteX146" fmla="*/ 1367929 w 1785077"/>
              <a:gd name="connsiteY146" fmla="*/ 406660 h 463366"/>
              <a:gd name="connsiteX147" fmla="*/ 1367929 w 1785077"/>
              <a:gd name="connsiteY147" fmla="*/ 370442 h 463366"/>
              <a:gd name="connsiteX148" fmla="*/ 1385703 w 1785077"/>
              <a:gd name="connsiteY148" fmla="*/ 370442 h 463366"/>
              <a:gd name="connsiteX149" fmla="*/ 1385703 w 1785077"/>
              <a:gd name="connsiteY149" fmla="*/ 461482 h 463366"/>
              <a:gd name="connsiteX150" fmla="*/ 1367929 w 1785077"/>
              <a:gd name="connsiteY150" fmla="*/ 461482 h 463366"/>
              <a:gd name="connsiteX151" fmla="*/ 1367929 w 1785077"/>
              <a:gd name="connsiteY151" fmla="*/ 423289 h 463366"/>
              <a:gd name="connsiteX152" fmla="*/ 1324452 w 1785077"/>
              <a:gd name="connsiteY152" fmla="*/ 423289 h 463366"/>
              <a:gd name="connsiteX153" fmla="*/ 1324452 w 1785077"/>
              <a:gd name="connsiteY153" fmla="*/ 461482 h 463366"/>
              <a:gd name="connsiteX154" fmla="*/ 1306678 w 1785077"/>
              <a:gd name="connsiteY154" fmla="*/ 461482 h 463366"/>
              <a:gd name="connsiteX155" fmla="*/ 995426 w 1785077"/>
              <a:gd name="connsiteY155" fmla="*/ 364071 h 463366"/>
              <a:gd name="connsiteX156" fmla="*/ 1005660 w 1785077"/>
              <a:gd name="connsiteY156" fmla="*/ 374150 h 463366"/>
              <a:gd name="connsiteX157" fmla="*/ 995426 w 1785077"/>
              <a:gd name="connsiteY157" fmla="*/ 384379 h 463366"/>
              <a:gd name="connsiteX158" fmla="*/ 985342 w 1785077"/>
              <a:gd name="connsiteY158" fmla="*/ 374150 h 463366"/>
              <a:gd name="connsiteX159" fmla="*/ 995426 w 1785077"/>
              <a:gd name="connsiteY159" fmla="*/ 364071 h 463366"/>
              <a:gd name="connsiteX160" fmla="*/ 1563831 w 1785077"/>
              <a:gd name="connsiteY160" fmla="*/ 363802 h 463366"/>
              <a:gd name="connsiteX161" fmla="*/ 1581156 w 1785077"/>
              <a:gd name="connsiteY161" fmla="*/ 363802 h 463366"/>
              <a:gd name="connsiteX162" fmla="*/ 1581156 w 1785077"/>
              <a:gd name="connsiteY162" fmla="*/ 439918 h 463366"/>
              <a:gd name="connsiteX163" fmla="*/ 1587260 w 1785077"/>
              <a:gd name="connsiteY163" fmla="*/ 447156 h 463366"/>
              <a:gd name="connsiteX164" fmla="*/ 1590103 w 1785077"/>
              <a:gd name="connsiteY164" fmla="*/ 446438 h 463366"/>
              <a:gd name="connsiteX165" fmla="*/ 1591958 w 1785077"/>
              <a:gd name="connsiteY165" fmla="*/ 461631 h 463366"/>
              <a:gd name="connsiteX166" fmla="*/ 1583580 w 1785077"/>
              <a:gd name="connsiteY166" fmla="*/ 463067 h 463366"/>
              <a:gd name="connsiteX167" fmla="*/ 1563831 w 1785077"/>
              <a:gd name="connsiteY167" fmla="*/ 439499 h 463366"/>
              <a:gd name="connsiteX168" fmla="*/ 1232950 w 1785077"/>
              <a:gd name="connsiteY168" fmla="*/ 363802 h 463366"/>
              <a:gd name="connsiteX169" fmla="*/ 1250275 w 1785077"/>
              <a:gd name="connsiteY169" fmla="*/ 363802 h 463366"/>
              <a:gd name="connsiteX170" fmla="*/ 1250275 w 1785077"/>
              <a:gd name="connsiteY170" fmla="*/ 439918 h 463366"/>
              <a:gd name="connsiteX171" fmla="*/ 1256379 w 1785077"/>
              <a:gd name="connsiteY171" fmla="*/ 447156 h 463366"/>
              <a:gd name="connsiteX172" fmla="*/ 1259222 w 1785077"/>
              <a:gd name="connsiteY172" fmla="*/ 446438 h 463366"/>
              <a:gd name="connsiteX173" fmla="*/ 1261077 w 1785077"/>
              <a:gd name="connsiteY173" fmla="*/ 461631 h 463366"/>
              <a:gd name="connsiteX174" fmla="*/ 1252698 w 1785077"/>
              <a:gd name="connsiteY174" fmla="*/ 463067 h 463366"/>
              <a:gd name="connsiteX175" fmla="*/ 1232950 w 1785077"/>
              <a:gd name="connsiteY175" fmla="*/ 439499 h 463366"/>
              <a:gd name="connsiteX176" fmla="*/ 1661168 w 1785077"/>
              <a:gd name="connsiteY176" fmla="*/ 363772 h 463366"/>
              <a:gd name="connsiteX177" fmla="*/ 1678494 w 1785077"/>
              <a:gd name="connsiteY177" fmla="*/ 363772 h 463366"/>
              <a:gd name="connsiteX178" fmla="*/ 1678494 w 1785077"/>
              <a:gd name="connsiteY178" fmla="*/ 403101 h 463366"/>
              <a:gd name="connsiteX179" fmla="*/ 1697823 w 1785077"/>
              <a:gd name="connsiteY179" fmla="*/ 391587 h 463366"/>
              <a:gd name="connsiteX180" fmla="*/ 1723527 w 1785077"/>
              <a:gd name="connsiteY180" fmla="*/ 420298 h 463366"/>
              <a:gd name="connsiteX181" fmla="*/ 1723527 w 1785077"/>
              <a:gd name="connsiteY181" fmla="*/ 461482 h 463366"/>
              <a:gd name="connsiteX182" fmla="*/ 1706202 w 1785077"/>
              <a:gd name="connsiteY182" fmla="*/ 461482 h 463366"/>
              <a:gd name="connsiteX183" fmla="*/ 1706202 w 1785077"/>
              <a:gd name="connsiteY183" fmla="*/ 422841 h 463366"/>
              <a:gd name="connsiteX184" fmla="*/ 1692407 w 1785077"/>
              <a:gd name="connsiteY184" fmla="*/ 407797 h 463366"/>
              <a:gd name="connsiteX185" fmla="*/ 1678494 w 1785077"/>
              <a:gd name="connsiteY185" fmla="*/ 422841 h 463366"/>
              <a:gd name="connsiteX186" fmla="*/ 1678494 w 1785077"/>
              <a:gd name="connsiteY186" fmla="*/ 461482 h 463366"/>
              <a:gd name="connsiteX187" fmla="*/ 1661168 w 1785077"/>
              <a:gd name="connsiteY187" fmla="*/ 461482 h 463366"/>
              <a:gd name="connsiteX188" fmla="*/ 750213 w 1785077"/>
              <a:gd name="connsiteY188" fmla="*/ 363772 h 463366"/>
              <a:gd name="connsiteX189" fmla="*/ 767538 w 1785077"/>
              <a:gd name="connsiteY189" fmla="*/ 363772 h 463366"/>
              <a:gd name="connsiteX190" fmla="*/ 767538 w 1785077"/>
              <a:gd name="connsiteY190" fmla="*/ 403101 h 463366"/>
              <a:gd name="connsiteX191" fmla="*/ 786867 w 1785077"/>
              <a:gd name="connsiteY191" fmla="*/ 391587 h 463366"/>
              <a:gd name="connsiteX192" fmla="*/ 812571 w 1785077"/>
              <a:gd name="connsiteY192" fmla="*/ 420298 h 463366"/>
              <a:gd name="connsiteX193" fmla="*/ 812571 w 1785077"/>
              <a:gd name="connsiteY193" fmla="*/ 461482 h 463366"/>
              <a:gd name="connsiteX194" fmla="*/ 795246 w 1785077"/>
              <a:gd name="connsiteY194" fmla="*/ 461482 h 463366"/>
              <a:gd name="connsiteX195" fmla="*/ 795246 w 1785077"/>
              <a:gd name="connsiteY195" fmla="*/ 422841 h 463366"/>
              <a:gd name="connsiteX196" fmla="*/ 781451 w 1785077"/>
              <a:gd name="connsiteY196" fmla="*/ 407797 h 463366"/>
              <a:gd name="connsiteX197" fmla="*/ 767538 w 1785077"/>
              <a:gd name="connsiteY197" fmla="*/ 422841 h 463366"/>
              <a:gd name="connsiteX198" fmla="*/ 767538 w 1785077"/>
              <a:gd name="connsiteY198" fmla="*/ 461482 h 463366"/>
              <a:gd name="connsiteX199" fmla="*/ 750213 w 1785077"/>
              <a:gd name="connsiteY199" fmla="*/ 461482 h 463366"/>
              <a:gd name="connsiteX200" fmla="*/ 1760720 w 1785077"/>
              <a:gd name="connsiteY200" fmla="*/ 269382 h 463366"/>
              <a:gd name="connsiteX201" fmla="*/ 1764580 w 1785077"/>
              <a:gd name="connsiteY201" fmla="*/ 269382 h 463366"/>
              <a:gd name="connsiteX202" fmla="*/ 1773138 w 1785077"/>
              <a:gd name="connsiteY202" fmla="*/ 282960 h 463366"/>
              <a:gd name="connsiteX203" fmla="*/ 1781666 w 1785077"/>
              <a:gd name="connsiteY203" fmla="*/ 269382 h 463366"/>
              <a:gd name="connsiteX204" fmla="*/ 1785077 w 1785077"/>
              <a:gd name="connsiteY204" fmla="*/ 269382 h 463366"/>
              <a:gd name="connsiteX205" fmla="*/ 1785077 w 1785077"/>
              <a:gd name="connsiteY205" fmla="*/ 293099 h 463366"/>
              <a:gd name="connsiteX206" fmla="*/ 1781756 w 1785077"/>
              <a:gd name="connsiteY206" fmla="*/ 293099 h 463366"/>
              <a:gd name="connsiteX207" fmla="*/ 1781756 w 1785077"/>
              <a:gd name="connsiteY207" fmla="*/ 274705 h 463366"/>
              <a:gd name="connsiteX208" fmla="*/ 1772929 w 1785077"/>
              <a:gd name="connsiteY208" fmla="*/ 288433 h 463366"/>
              <a:gd name="connsiteX209" fmla="*/ 1764042 w 1785077"/>
              <a:gd name="connsiteY209" fmla="*/ 274705 h 463366"/>
              <a:gd name="connsiteX210" fmla="*/ 1764042 w 1785077"/>
              <a:gd name="connsiteY210" fmla="*/ 293099 h 463366"/>
              <a:gd name="connsiteX211" fmla="*/ 1760720 w 1785077"/>
              <a:gd name="connsiteY211" fmla="*/ 293099 h 463366"/>
              <a:gd name="connsiteX212" fmla="*/ 1748452 w 1785077"/>
              <a:gd name="connsiteY212" fmla="*/ 268963 h 463366"/>
              <a:gd name="connsiteX213" fmla="*/ 1756591 w 1785077"/>
              <a:gd name="connsiteY213" fmla="*/ 272642 h 463366"/>
              <a:gd name="connsiteX214" fmla="*/ 1754287 w 1785077"/>
              <a:gd name="connsiteY214" fmla="*/ 274885 h 463366"/>
              <a:gd name="connsiteX215" fmla="*/ 1748392 w 1785077"/>
              <a:gd name="connsiteY215" fmla="*/ 272073 h 463366"/>
              <a:gd name="connsiteX216" fmla="*/ 1743754 w 1785077"/>
              <a:gd name="connsiteY216" fmla="*/ 275274 h 463366"/>
              <a:gd name="connsiteX217" fmla="*/ 1757010 w 1785077"/>
              <a:gd name="connsiteY217" fmla="*/ 286549 h 463366"/>
              <a:gd name="connsiteX218" fmla="*/ 1748303 w 1785077"/>
              <a:gd name="connsiteY218" fmla="*/ 293547 h 463366"/>
              <a:gd name="connsiteX219" fmla="*/ 1739326 w 1785077"/>
              <a:gd name="connsiteY219" fmla="*/ 289510 h 463366"/>
              <a:gd name="connsiteX220" fmla="*/ 1741720 w 1785077"/>
              <a:gd name="connsiteY220" fmla="*/ 287267 h 463366"/>
              <a:gd name="connsiteX221" fmla="*/ 1748303 w 1785077"/>
              <a:gd name="connsiteY221" fmla="*/ 290407 h 463366"/>
              <a:gd name="connsiteX222" fmla="*/ 1753419 w 1785077"/>
              <a:gd name="connsiteY222" fmla="*/ 286788 h 463366"/>
              <a:gd name="connsiteX223" fmla="*/ 1740164 w 1785077"/>
              <a:gd name="connsiteY223" fmla="*/ 275393 h 463366"/>
              <a:gd name="connsiteX224" fmla="*/ 1748452 w 1785077"/>
              <a:gd name="connsiteY224" fmla="*/ 268963 h 463366"/>
              <a:gd name="connsiteX225" fmla="*/ 1411587 w 1785077"/>
              <a:gd name="connsiteY225" fmla="*/ 134646 h 463366"/>
              <a:gd name="connsiteX226" fmla="*/ 1357906 w 1785077"/>
              <a:gd name="connsiteY226" fmla="*/ 192488 h 463366"/>
              <a:gd name="connsiteX227" fmla="*/ 1411587 w 1785077"/>
              <a:gd name="connsiteY227" fmla="*/ 250749 h 463366"/>
              <a:gd name="connsiteX228" fmla="*/ 1464429 w 1785077"/>
              <a:gd name="connsiteY228" fmla="*/ 192488 h 463366"/>
              <a:gd name="connsiteX229" fmla="*/ 1411587 w 1785077"/>
              <a:gd name="connsiteY229" fmla="*/ 134646 h 463366"/>
              <a:gd name="connsiteX230" fmla="*/ 742014 w 1785077"/>
              <a:gd name="connsiteY230" fmla="*/ 134646 h 463366"/>
              <a:gd name="connsiteX231" fmla="*/ 688334 w 1785077"/>
              <a:gd name="connsiteY231" fmla="*/ 192488 h 463366"/>
              <a:gd name="connsiteX232" fmla="*/ 742014 w 1785077"/>
              <a:gd name="connsiteY232" fmla="*/ 250749 h 463366"/>
              <a:gd name="connsiteX233" fmla="*/ 794857 w 1785077"/>
              <a:gd name="connsiteY233" fmla="*/ 192488 h 463366"/>
              <a:gd name="connsiteX234" fmla="*/ 742014 w 1785077"/>
              <a:gd name="connsiteY234" fmla="*/ 134646 h 463366"/>
              <a:gd name="connsiteX235" fmla="*/ 1110987 w 1785077"/>
              <a:gd name="connsiteY235" fmla="*/ 130070 h 463366"/>
              <a:gd name="connsiteX236" fmla="*/ 1061914 w 1785077"/>
              <a:gd name="connsiteY236" fmla="*/ 173227 h 463366"/>
              <a:gd name="connsiteX237" fmla="*/ 1158773 w 1785077"/>
              <a:gd name="connsiteY237" fmla="*/ 173227 h 463366"/>
              <a:gd name="connsiteX238" fmla="*/ 1110987 w 1785077"/>
              <a:gd name="connsiteY238" fmla="*/ 130070 h 463366"/>
              <a:gd name="connsiteX239" fmla="*/ 733636 w 1785077"/>
              <a:gd name="connsiteY239" fmla="*/ 86494 h 463366"/>
              <a:gd name="connsiteX240" fmla="*/ 794857 w 1785077"/>
              <a:gd name="connsiteY240" fmla="*/ 112484 h 463366"/>
              <a:gd name="connsiteX241" fmla="*/ 794857 w 1785077"/>
              <a:gd name="connsiteY241" fmla="*/ 92356 h 463366"/>
              <a:gd name="connsiteX242" fmla="*/ 846443 w 1785077"/>
              <a:gd name="connsiteY242" fmla="*/ 92356 h 463366"/>
              <a:gd name="connsiteX243" fmla="*/ 846443 w 1785077"/>
              <a:gd name="connsiteY243" fmla="*/ 293099 h 463366"/>
              <a:gd name="connsiteX244" fmla="*/ 794857 w 1785077"/>
              <a:gd name="connsiteY244" fmla="*/ 293099 h 463366"/>
              <a:gd name="connsiteX245" fmla="*/ 794857 w 1785077"/>
              <a:gd name="connsiteY245" fmla="*/ 271296 h 463366"/>
              <a:gd name="connsiteX246" fmla="*/ 733636 w 1785077"/>
              <a:gd name="connsiteY246" fmla="*/ 298961 h 463366"/>
              <a:gd name="connsiteX247" fmla="*/ 637196 w 1785077"/>
              <a:gd name="connsiteY247" fmla="*/ 192937 h 463366"/>
              <a:gd name="connsiteX248" fmla="*/ 733636 w 1785077"/>
              <a:gd name="connsiteY248" fmla="*/ 86494 h 463366"/>
              <a:gd name="connsiteX249" fmla="*/ 555628 w 1785077"/>
              <a:gd name="connsiteY249" fmla="*/ 86494 h 463366"/>
              <a:gd name="connsiteX250" fmla="*/ 634862 w 1785077"/>
              <a:gd name="connsiteY250" fmla="*/ 116671 h 463366"/>
              <a:gd name="connsiteX251" fmla="*/ 605509 w 1785077"/>
              <a:gd name="connsiteY251" fmla="*/ 153129 h 463366"/>
              <a:gd name="connsiteX252" fmla="*/ 558141 w 1785077"/>
              <a:gd name="connsiteY252" fmla="*/ 134676 h 463366"/>
              <a:gd name="connsiteX253" fmla="*/ 501947 w 1785077"/>
              <a:gd name="connsiteY253" fmla="*/ 192518 h 463366"/>
              <a:gd name="connsiteX254" fmla="*/ 557723 w 1785077"/>
              <a:gd name="connsiteY254" fmla="*/ 250779 h 463366"/>
              <a:gd name="connsiteX255" fmla="*/ 607184 w 1785077"/>
              <a:gd name="connsiteY255" fmla="*/ 231070 h 463366"/>
              <a:gd name="connsiteX256" fmla="*/ 633187 w 1785077"/>
              <a:gd name="connsiteY256" fmla="*/ 268784 h 463366"/>
              <a:gd name="connsiteX257" fmla="*/ 556466 w 1785077"/>
              <a:gd name="connsiteY257" fmla="*/ 298961 h 463366"/>
              <a:gd name="connsiteX258" fmla="*/ 450810 w 1785077"/>
              <a:gd name="connsiteY258" fmla="*/ 192937 h 463366"/>
              <a:gd name="connsiteX259" fmla="*/ 555628 w 1785077"/>
              <a:gd name="connsiteY259" fmla="*/ 86494 h 463366"/>
              <a:gd name="connsiteX260" fmla="*/ 1647225 w 1785077"/>
              <a:gd name="connsiteY260" fmla="*/ 86464 h 463366"/>
              <a:gd name="connsiteX261" fmla="*/ 1723527 w 1785077"/>
              <a:gd name="connsiteY261" fmla="*/ 171553 h 463366"/>
              <a:gd name="connsiteX262" fmla="*/ 1723527 w 1785077"/>
              <a:gd name="connsiteY262" fmla="*/ 293099 h 463366"/>
              <a:gd name="connsiteX263" fmla="*/ 1672360 w 1785077"/>
              <a:gd name="connsiteY263" fmla="*/ 293099 h 463366"/>
              <a:gd name="connsiteX264" fmla="*/ 1672360 w 1785077"/>
              <a:gd name="connsiteY264" fmla="*/ 179089 h 463366"/>
              <a:gd name="connsiteX265" fmla="*/ 1631695 w 1785077"/>
              <a:gd name="connsiteY265" fmla="*/ 134676 h 463366"/>
              <a:gd name="connsiteX266" fmla="*/ 1590612 w 1785077"/>
              <a:gd name="connsiteY266" fmla="*/ 179089 h 463366"/>
              <a:gd name="connsiteX267" fmla="*/ 1590612 w 1785077"/>
              <a:gd name="connsiteY267" fmla="*/ 293069 h 463366"/>
              <a:gd name="connsiteX268" fmla="*/ 1539445 w 1785077"/>
              <a:gd name="connsiteY268" fmla="*/ 293069 h 463366"/>
              <a:gd name="connsiteX269" fmla="*/ 1539445 w 1785077"/>
              <a:gd name="connsiteY269" fmla="*/ 92326 h 463366"/>
              <a:gd name="connsiteX270" fmla="*/ 1590612 w 1785077"/>
              <a:gd name="connsiteY270" fmla="*/ 92326 h 463366"/>
              <a:gd name="connsiteX271" fmla="*/ 1590612 w 1785077"/>
              <a:gd name="connsiteY271" fmla="*/ 112035 h 463366"/>
              <a:gd name="connsiteX272" fmla="*/ 1647225 w 1785077"/>
              <a:gd name="connsiteY272" fmla="*/ 86464 h 463366"/>
              <a:gd name="connsiteX273" fmla="*/ 1411168 w 1785077"/>
              <a:gd name="connsiteY273" fmla="*/ 86464 h 463366"/>
              <a:gd name="connsiteX274" fmla="*/ 1515986 w 1785077"/>
              <a:gd name="connsiteY274" fmla="*/ 192907 h 463366"/>
              <a:gd name="connsiteX275" fmla="*/ 1411168 w 1785077"/>
              <a:gd name="connsiteY275" fmla="*/ 298931 h 463366"/>
              <a:gd name="connsiteX276" fmla="*/ 1306769 w 1785077"/>
              <a:gd name="connsiteY276" fmla="*/ 192907 h 463366"/>
              <a:gd name="connsiteX277" fmla="*/ 1411168 w 1785077"/>
              <a:gd name="connsiteY277" fmla="*/ 86464 h 463366"/>
              <a:gd name="connsiteX278" fmla="*/ 1110119 w 1785077"/>
              <a:gd name="connsiteY278" fmla="*/ 86464 h 463366"/>
              <a:gd name="connsiteX279" fmla="*/ 1211167 w 1785077"/>
              <a:gd name="connsiteY279" fmla="*/ 188720 h 463366"/>
              <a:gd name="connsiteX280" fmla="*/ 1209910 w 1785077"/>
              <a:gd name="connsiteY280" fmla="*/ 205468 h 463366"/>
              <a:gd name="connsiteX281" fmla="*/ 1061046 w 1785077"/>
              <a:gd name="connsiteY281" fmla="*/ 205468 h 463366"/>
              <a:gd name="connsiteX282" fmla="*/ 1118497 w 1785077"/>
              <a:gd name="connsiteY282" fmla="*/ 253680 h 463366"/>
              <a:gd name="connsiteX283" fmla="*/ 1167570 w 1785077"/>
              <a:gd name="connsiteY283" fmla="*/ 232715 h 463366"/>
              <a:gd name="connsiteX284" fmla="*/ 1193991 w 1785077"/>
              <a:gd name="connsiteY284" fmla="*/ 267498 h 463366"/>
              <a:gd name="connsiteX285" fmla="*/ 1116433 w 1785077"/>
              <a:gd name="connsiteY285" fmla="*/ 298931 h 463366"/>
              <a:gd name="connsiteX286" fmla="*/ 1008652 w 1785077"/>
              <a:gd name="connsiteY286" fmla="*/ 192907 h 463366"/>
              <a:gd name="connsiteX287" fmla="*/ 1110119 w 1785077"/>
              <a:gd name="connsiteY287" fmla="*/ 86464 h 463366"/>
              <a:gd name="connsiteX288" fmla="*/ 983518 w 1785077"/>
              <a:gd name="connsiteY288" fmla="*/ 86464 h 463366"/>
              <a:gd name="connsiteX289" fmla="*/ 1015804 w 1785077"/>
              <a:gd name="connsiteY289" fmla="*/ 96513 h 463366"/>
              <a:gd name="connsiteX290" fmla="*/ 994409 w 1785077"/>
              <a:gd name="connsiteY290" fmla="*/ 145144 h 463366"/>
              <a:gd name="connsiteX291" fmla="*/ 967988 w 1785077"/>
              <a:gd name="connsiteY291" fmla="*/ 136351 h 463366"/>
              <a:gd name="connsiteX292" fmla="*/ 934445 w 1785077"/>
              <a:gd name="connsiteY292" fmla="*/ 180764 h 463366"/>
              <a:gd name="connsiteX293" fmla="*/ 934445 w 1785077"/>
              <a:gd name="connsiteY293" fmla="*/ 293069 h 463366"/>
              <a:gd name="connsiteX294" fmla="*/ 883278 w 1785077"/>
              <a:gd name="connsiteY294" fmla="*/ 293069 h 463366"/>
              <a:gd name="connsiteX295" fmla="*/ 883278 w 1785077"/>
              <a:gd name="connsiteY295" fmla="*/ 92326 h 463366"/>
              <a:gd name="connsiteX296" fmla="*/ 934445 w 1785077"/>
              <a:gd name="connsiteY296" fmla="*/ 92326 h 463366"/>
              <a:gd name="connsiteX297" fmla="*/ 934445 w 1785077"/>
              <a:gd name="connsiteY297" fmla="*/ 114129 h 463366"/>
              <a:gd name="connsiteX298" fmla="*/ 983518 w 1785077"/>
              <a:gd name="connsiteY298" fmla="*/ 86464 h 463366"/>
              <a:gd name="connsiteX299" fmla="*/ 289840 w 1785077"/>
              <a:gd name="connsiteY299" fmla="*/ 38556 h 463366"/>
              <a:gd name="connsiteX300" fmla="*/ 241383 w 1785077"/>
              <a:gd name="connsiteY300" fmla="*/ 74352 h 463366"/>
              <a:gd name="connsiteX301" fmla="*/ 247637 w 1785077"/>
              <a:gd name="connsiteY301" fmla="*/ 123760 h 463366"/>
              <a:gd name="connsiteX302" fmla="*/ 192849 w 1785077"/>
              <a:gd name="connsiteY302" fmla="*/ 146131 h 463366"/>
              <a:gd name="connsiteX303" fmla="*/ 138151 w 1785077"/>
              <a:gd name="connsiteY303" fmla="*/ 123610 h 463366"/>
              <a:gd name="connsiteX304" fmla="*/ 144285 w 1785077"/>
              <a:gd name="connsiteY304" fmla="*/ 111587 h 463366"/>
              <a:gd name="connsiteX305" fmla="*/ 147574 w 1785077"/>
              <a:gd name="connsiteY305" fmla="*/ 93063 h 463366"/>
              <a:gd name="connsiteX306" fmla="*/ 137965 w 1785077"/>
              <a:gd name="connsiteY306" fmla="*/ 62101 h 463366"/>
              <a:gd name="connsiteX307" fmla="*/ 111700 w 1785077"/>
              <a:gd name="connsiteY307" fmla="*/ 41782 h 463366"/>
              <a:gd name="connsiteX308" fmla="*/ 90289 w 1785077"/>
              <a:gd name="connsiteY308" fmla="*/ 38556 h 463366"/>
              <a:gd name="connsiteX309" fmla="*/ 41831 w 1785077"/>
              <a:gd name="connsiteY309" fmla="*/ 74352 h 463366"/>
              <a:gd name="connsiteX310" fmla="*/ 74417 w 1785077"/>
              <a:gd name="connsiteY310" fmla="*/ 144187 h 463366"/>
              <a:gd name="connsiteX311" fmla="*/ 123849 w 1785077"/>
              <a:gd name="connsiteY311" fmla="*/ 137936 h 463366"/>
              <a:gd name="connsiteX312" fmla="*/ 146231 w 1785077"/>
              <a:gd name="connsiteY312" fmla="*/ 192668 h 463366"/>
              <a:gd name="connsiteX313" fmla="*/ 123699 w 1785077"/>
              <a:gd name="connsiteY313" fmla="*/ 247340 h 463366"/>
              <a:gd name="connsiteX314" fmla="*/ 111670 w 1785077"/>
              <a:gd name="connsiteY314" fmla="*/ 241209 h 463366"/>
              <a:gd name="connsiteX315" fmla="*/ 93118 w 1785077"/>
              <a:gd name="connsiteY315" fmla="*/ 237919 h 463366"/>
              <a:gd name="connsiteX316" fmla="*/ 93128 w 1785077"/>
              <a:gd name="connsiteY316" fmla="*/ 237895 h 463366"/>
              <a:gd name="connsiteX317" fmla="*/ 62160 w 1785077"/>
              <a:gd name="connsiteY317" fmla="*/ 247497 h 463366"/>
              <a:gd name="connsiteX318" fmla="*/ 41831 w 1785077"/>
              <a:gd name="connsiteY318" fmla="*/ 273749 h 463366"/>
              <a:gd name="connsiteX319" fmla="*/ 74417 w 1785077"/>
              <a:gd name="connsiteY319" fmla="*/ 343584 h 463366"/>
              <a:gd name="connsiteX320" fmla="*/ 144286 w 1785077"/>
              <a:gd name="connsiteY320" fmla="*/ 311014 h 463366"/>
              <a:gd name="connsiteX321" fmla="*/ 138032 w 1785077"/>
              <a:gd name="connsiteY321" fmla="*/ 261606 h 463366"/>
              <a:gd name="connsiteX322" fmla="*/ 192820 w 1785077"/>
              <a:gd name="connsiteY322" fmla="*/ 239235 h 463366"/>
              <a:gd name="connsiteX323" fmla="*/ 247458 w 1785077"/>
              <a:gd name="connsiteY323" fmla="*/ 261785 h 463366"/>
              <a:gd name="connsiteX324" fmla="*/ 241324 w 1785077"/>
              <a:gd name="connsiteY324" fmla="*/ 273808 h 463366"/>
              <a:gd name="connsiteX325" fmla="*/ 238035 w 1785077"/>
              <a:gd name="connsiteY325" fmla="*/ 292332 h 463366"/>
              <a:gd name="connsiteX326" fmla="*/ 247644 w 1785077"/>
              <a:gd name="connsiteY326" fmla="*/ 323295 h 463366"/>
              <a:gd name="connsiteX327" fmla="*/ 273909 w 1785077"/>
              <a:gd name="connsiteY327" fmla="*/ 343614 h 463366"/>
              <a:gd name="connsiteX328" fmla="*/ 343778 w 1785077"/>
              <a:gd name="connsiteY328" fmla="*/ 311044 h 463366"/>
              <a:gd name="connsiteX329" fmla="*/ 311192 w 1785077"/>
              <a:gd name="connsiteY329" fmla="*/ 241208 h 463366"/>
              <a:gd name="connsiteX330" fmla="*/ 261760 w 1785077"/>
              <a:gd name="connsiteY330" fmla="*/ 247459 h 463366"/>
              <a:gd name="connsiteX331" fmla="*/ 239379 w 1785077"/>
              <a:gd name="connsiteY331" fmla="*/ 192697 h 463366"/>
              <a:gd name="connsiteX332" fmla="*/ 261940 w 1785077"/>
              <a:gd name="connsiteY332" fmla="*/ 138115 h 463366"/>
              <a:gd name="connsiteX333" fmla="*/ 273969 w 1785077"/>
              <a:gd name="connsiteY333" fmla="*/ 144246 h 463366"/>
              <a:gd name="connsiteX334" fmla="*/ 292497 w 1785077"/>
              <a:gd name="connsiteY334" fmla="*/ 147532 h 463366"/>
              <a:gd name="connsiteX335" fmla="*/ 292520 w 1785077"/>
              <a:gd name="connsiteY335" fmla="*/ 147477 h 463366"/>
              <a:gd name="connsiteX336" fmla="*/ 343837 w 1785077"/>
              <a:gd name="connsiteY336" fmla="*/ 111617 h 463366"/>
              <a:gd name="connsiteX337" fmla="*/ 311252 w 1785077"/>
              <a:gd name="connsiteY337" fmla="*/ 41782 h 463366"/>
              <a:gd name="connsiteX338" fmla="*/ 289840 w 1785077"/>
              <a:gd name="connsiteY338" fmla="*/ 38556 h 463366"/>
              <a:gd name="connsiteX339" fmla="*/ 1232142 w 1785077"/>
              <a:gd name="connsiteY339" fmla="*/ 4755 h 463366"/>
              <a:gd name="connsiteX340" fmla="*/ 1283310 w 1785077"/>
              <a:gd name="connsiteY340" fmla="*/ 4755 h 463366"/>
              <a:gd name="connsiteX341" fmla="*/ 1283310 w 1785077"/>
              <a:gd name="connsiteY341" fmla="*/ 293099 h 463366"/>
              <a:gd name="connsiteX342" fmla="*/ 1232142 w 1785077"/>
              <a:gd name="connsiteY342" fmla="*/ 293099 h 463366"/>
              <a:gd name="connsiteX343" fmla="*/ 1232142 w 1785077"/>
              <a:gd name="connsiteY343" fmla="*/ 156868 h 463366"/>
              <a:gd name="connsiteX344" fmla="*/ 93029 w 1785077"/>
              <a:gd name="connsiteY344" fmla="*/ 0 h 463366"/>
              <a:gd name="connsiteX345" fmla="*/ 186087 w 1785077"/>
              <a:gd name="connsiteY345" fmla="*/ 92984 h 463366"/>
              <a:gd name="connsiteX346" fmla="*/ 184801 w 1785077"/>
              <a:gd name="connsiteY346" fmla="*/ 108375 h 463366"/>
              <a:gd name="connsiteX347" fmla="*/ 192819 w 1785077"/>
              <a:gd name="connsiteY347" fmla="*/ 111677 h 463366"/>
              <a:gd name="connsiteX348" fmla="*/ 200808 w 1785077"/>
              <a:gd name="connsiteY348" fmla="*/ 108387 h 463366"/>
              <a:gd name="connsiteX349" fmla="*/ 199552 w 1785077"/>
              <a:gd name="connsiteY349" fmla="*/ 92984 h 463366"/>
              <a:gd name="connsiteX350" fmla="*/ 292580 w 1785077"/>
              <a:gd name="connsiteY350" fmla="*/ 0 h 463366"/>
              <a:gd name="connsiteX351" fmla="*/ 385609 w 1785077"/>
              <a:gd name="connsiteY351" fmla="*/ 92984 h 463366"/>
              <a:gd name="connsiteX352" fmla="*/ 292580 w 1785077"/>
              <a:gd name="connsiteY352" fmla="*/ 185969 h 463366"/>
              <a:gd name="connsiteX353" fmla="*/ 277196 w 1785077"/>
              <a:gd name="connsiteY353" fmla="*/ 184685 h 463366"/>
              <a:gd name="connsiteX354" fmla="*/ 273879 w 1785077"/>
              <a:gd name="connsiteY354" fmla="*/ 192727 h 463366"/>
              <a:gd name="connsiteX355" fmla="*/ 277170 w 1785077"/>
              <a:gd name="connsiteY355" fmla="*/ 200713 h 463366"/>
              <a:gd name="connsiteX356" fmla="*/ 292580 w 1785077"/>
              <a:gd name="connsiteY356" fmla="*/ 199427 h 463366"/>
              <a:gd name="connsiteX357" fmla="*/ 385579 w 1785077"/>
              <a:gd name="connsiteY357" fmla="*/ 292411 h 463366"/>
              <a:gd name="connsiteX358" fmla="*/ 292551 w 1785077"/>
              <a:gd name="connsiteY358" fmla="*/ 385395 h 463366"/>
              <a:gd name="connsiteX359" fmla="*/ 199522 w 1785077"/>
              <a:gd name="connsiteY359" fmla="*/ 292411 h 463366"/>
              <a:gd name="connsiteX360" fmla="*/ 200808 w 1785077"/>
              <a:gd name="connsiteY360" fmla="*/ 277021 h 463366"/>
              <a:gd name="connsiteX361" fmla="*/ 192790 w 1785077"/>
              <a:gd name="connsiteY361" fmla="*/ 273719 h 463366"/>
              <a:gd name="connsiteX362" fmla="*/ 184770 w 1785077"/>
              <a:gd name="connsiteY362" fmla="*/ 277009 h 463366"/>
              <a:gd name="connsiteX363" fmla="*/ 186057 w 1785077"/>
              <a:gd name="connsiteY363" fmla="*/ 292411 h 463366"/>
              <a:gd name="connsiteX364" fmla="*/ 93029 w 1785077"/>
              <a:gd name="connsiteY364" fmla="*/ 385396 h 463366"/>
              <a:gd name="connsiteX365" fmla="*/ 0 w 1785077"/>
              <a:gd name="connsiteY365" fmla="*/ 292411 h 463366"/>
              <a:gd name="connsiteX366" fmla="*/ 93058 w 1785077"/>
              <a:gd name="connsiteY366" fmla="*/ 199367 h 463366"/>
              <a:gd name="connsiteX367" fmla="*/ 108458 w 1785077"/>
              <a:gd name="connsiteY367" fmla="*/ 200682 h 463366"/>
              <a:gd name="connsiteX368" fmla="*/ 111760 w 1785077"/>
              <a:gd name="connsiteY368" fmla="*/ 192668 h 463366"/>
              <a:gd name="connsiteX369" fmla="*/ 108439 w 1785077"/>
              <a:gd name="connsiteY369" fmla="*/ 184713 h 463366"/>
              <a:gd name="connsiteX370" fmla="*/ 93029 w 1785077"/>
              <a:gd name="connsiteY370" fmla="*/ 185939 h 463366"/>
              <a:gd name="connsiteX371" fmla="*/ 0 w 1785077"/>
              <a:gd name="connsiteY371" fmla="*/ 92984 h 463366"/>
              <a:gd name="connsiteX372" fmla="*/ 93029 w 1785077"/>
              <a:gd name="connsiteY372" fmla="*/ 0 h 463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Lst>
            <a:rect l="l" t="t" r="r" b="b"/>
            <a:pathLst>
              <a:path w="1785077" h="463366">
                <a:moveTo>
                  <a:pt x="609398" y="422691"/>
                </a:moveTo>
                <a:lnTo>
                  <a:pt x="609398" y="445690"/>
                </a:lnTo>
                <a:lnTo>
                  <a:pt x="628578" y="445690"/>
                </a:lnTo>
                <a:lnTo>
                  <a:pt x="628578" y="445720"/>
                </a:lnTo>
                <a:cubicBezTo>
                  <a:pt x="636538" y="445720"/>
                  <a:pt x="642372" y="440905"/>
                  <a:pt x="642372" y="434206"/>
                </a:cubicBezTo>
                <a:cubicBezTo>
                  <a:pt x="642372" y="427506"/>
                  <a:pt x="636538" y="422691"/>
                  <a:pt x="628578" y="422691"/>
                </a:cubicBezTo>
                <a:close/>
                <a:moveTo>
                  <a:pt x="1511976" y="407797"/>
                </a:moveTo>
                <a:cubicBezTo>
                  <a:pt x="1501473" y="407797"/>
                  <a:pt x="1493932" y="416470"/>
                  <a:pt x="1493932" y="427387"/>
                </a:cubicBezTo>
                <a:cubicBezTo>
                  <a:pt x="1493932" y="438303"/>
                  <a:pt x="1501473" y="447126"/>
                  <a:pt x="1511976" y="447126"/>
                </a:cubicBezTo>
                <a:cubicBezTo>
                  <a:pt x="1522508" y="447156"/>
                  <a:pt x="1530019" y="438333"/>
                  <a:pt x="1530019" y="427387"/>
                </a:cubicBezTo>
                <a:cubicBezTo>
                  <a:pt x="1530019" y="416440"/>
                  <a:pt x="1522478" y="407797"/>
                  <a:pt x="1511976" y="407797"/>
                </a:cubicBezTo>
                <a:close/>
                <a:moveTo>
                  <a:pt x="1181094" y="407797"/>
                </a:moveTo>
                <a:cubicBezTo>
                  <a:pt x="1170592" y="407797"/>
                  <a:pt x="1163051" y="416470"/>
                  <a:pt x="1163051" y="427387"/>
                </a:cubicBezTo>
                <a:cubicBezTo>
                  <a:pt x="1163051" y="438303"/>
                  <a:pt x="1170592" y="447126"/>
                  <a:pt x="1181094" y="447126"/>
                </a:cubicBezTo>
                <a:cubicBezTo>
                  <a:pt x="1191627" y="447156"/>
                  <a:pt x="1199137" y="438333"/>
                  <a:pt x="1199137" y="427387"/>
                </a:cubicBezTo>
                <a:cubicBezTo>
                  <a:pt x="1199137" y="416440"/>
                  <a:pt x="1191597" y="407797"/>
                  <a:pt x="1181094" y="407797"/>
                </a:cubicBezTo>
                <a:close/>
                <a:moveTo>
                  <a:pt x="1051680" y="407797"/>
                </a:moveTo>
                <a:cubicBezTo>
                  <a:pt x="1041177" y="407797"/>
                  <a:pt x="1033637" y="416470"/>
                  <a:pt x="1033637" y="427387"/>
                </a:cubicBezTo>
                <a:cubicBezTo>
                  <a:pt x="1033637" y="438303"/>
                  <a:pt x="1041177" y="447126"/>
                  <a:pt x="1051680" y="447126"/>
                </a:cubicBezTo>
                <a:cubicBezTo>
                  <a:pt x="1062183" y="447126"/>
                  <a:pt x="1069723" y="438333"/>
                  <a:pt x="1069723" y="427387"/>
                </a:cubicBezTo>
                <a:cubicBezTo>
                  <a:pt x="1069723" y="416440"/>
                  <a:pt x="1062183" y="407797"/>
                  <a:pt x="1051680" y="407797"/>
                </a:cubicBezTo>
                <a:close/>
                <a:moveTo>
                  <a:pt x="859459" y="407797"/>
                </a:moveTo>
                <a:cubicBezTo>
                  <a:pt x="848956" y="407797"/>
                  <a:pt x="841416" y="416470"/>
                  <a:pt x="841416" y="427387"/>
                </a:cubicBezTo>
                <a:cubicBezTo>
                  <a:pt x="841416" y="438303"/>
                  <a:pt x="848956" y="447126"/>
                  <a:pt x="859459" y="447126"/>
                </a:cubicBezTo>
                <a:cubicBezTo>
                  <a:pt x="869962" y="447156"/>
                  <a:pt x="877502" y="438333"/>
                  <a:pt x="877502" y="427387"/>
                </a:cubicBezTo>
                <a:cubicBezTo>
                  <a:pt x="877502" y="416440"/>
                  <a:pt x="869962" y="407797"/>
                  <a:pt x="859459" y="407797"/>
                </a:cubicBezTo>
                <a:close/>
                <a:moveTo>
                  <a:pt x="1432981" y="406242"/>
                </a:moveTo>
                <a:cubicBezTo>
                  <a:pt x="1424752" y="406242"/>
                  <a:pt x="1418797" y="411924"/>
                  <a:pt x="1416643" y="420149"/>
                </a:cubicBezTo>
                <a:lnTo>
                  <a:pt x="1449169" y="420149"/>
                </a:lnTo>
                <a:cubicBezTo>
                  <a:pt x="1447044" y="411057"/>
                  <a:pt x="1440940" y="406242"/>
                  <a:pt x="1432981" y="406242"/>
                </a:cubicBezTo>
                <a:close/>
                <a:moveTo>
                  <a:pt x="705000" y="406242"/>
                </a:moveTo>
                <a:cubicBezTo>
                  <a:pt x="696771" y="406242"/>
                  <a:pt x="690817" y="411924"/>
                  <a:pt x="688662" y="420149"/>
                </a:cubicBezTo>
                <a:lnTo>
                  <a:pt x="721188" y="420149"/>
                </a:lnTo>
                <a:cubicBezTo>
                  <a:pt x="719063" y="411057"/>
                  <a:pt x="712959" y="406242"/>
                  <a:pt x="705000" y="406242"/>
                </a:cubicBezTo>
                <a:close/>
                <a:moveTo>
                  <a:pt x="986749" y="393441"/>
                </a:moveTo>
                <a:lnTo>
                  <a:pt x="1004074" y="393441"/>
                </a:lnTo>
                <a:lnTo>
                  <a:pt x="1004074" y="434654"/>
                </a:lnTo>
                <a:lnTo>
                  <a:pt x="1004074" y="461482"/>
                </a:lnTo>
                <a:lnTo>
                  <a:pt x="986749" y="461482"/>
                </a:lnTo>
                <a:close/>
                <a:moveTo>
                  <a:pt x="904881" y="393441"/>
                </a:moveTo>
                <a:lnTo>
                  <a:pt x="923912" y="393441"/>
                </a:lnTo>
                <a:lnTo>
                  <a:pt x="941237" y="445989"/>
                </a:lnTo>
                <a:lnTo>
                  <a:pt x="958861" y="393441"/>
                </a:lnTo>
                <a:lnTo>
                  <a:pt x="976635" y="393441"/>
                </a:lnTo>
                <a:lnTo>
                  <a:pt x="952069" y="461482"/>
                </a:lnTo>
                <a:lnTo>
                  <a:pt x="929477" y="461482"/>
                </a:lnTo>
                <a:close/>
                <a:moveTo>
                  <a:pt x="1509133" y="391646"/>
                </a:moveTo>
                <a:cubicBezTo>
                  <a:pt x="1518379" y="391646"/>
                  <a:pt x="1525471" y="395774"/>
                  <a:pt x="1530019" y="402443"/>
                </a:cubicBezTo>
                <a:lnTo>
                  <a:pt x="1530019" y="393471"/>
                </a:lnTo>
                <a:lnTo>
                  <a:pt x="1547344" y="393471"/>
                </a:lnTo>
                <a:lnTo>
                  <a:pt x="1547344" y="461512"/>
                </a:lnTo>
                <a:lnTo>
                  <a:pt x="1530019" y="461512"/>
                </a:lnTo>
                <a:lnTo>
                  <a:pt x="1530019" y="451851"/>
                </a:lnTo>
                <a:cubicBezTo>
                  <a:pt x="1525471" y="458820"/>
                  <a:pt x="1518379" y="463366"/>
                  <a:pt x="1509133" y="463366"/>
                </a:cubicBezTo>
                <a:cubicBezTo>
                  <a:pt x="1491239" y="463366"/>
                  <a:pt x="1476607" y="448741"/>
                  <a:pt x="1476607" y="427446"/>
                </a:cubicBezTo>
                <a:cubicBezTo>
                  <a:pt x="1476607" y="406989"/>
                  <a:pt x="1490402" y="391646"/>
                  <a:pt x="1509133" y="391646"/>
                </a:cubicBezTo>
                <a:close/>
                <a:moveTo>
                  <a:pt x="1432681" y="391646"/>
                </a:moveTo>
                <a:cubicBezTo>
                  <a:pt x="1452161" y="391646"/>
                  <a:pt x="1467062" y="406571"/>
                  <a:pt x="1467062" y="426160"/>
                </a:cubicBezTo>
                <a:cubicBezTo>
                  <a:pt x="1467092" y="428403"/>
                  <a:pt x="1466942" y="431095"/>
                  <a:pt x="1466673" y="432232"/>
                </a:cubicBezTo>
                <a:lnTo>
                  <a:pt x="1416224" y="432232"/>
                </a:lnTo>
                <a:cubicBezTo>
                  <a:pt x="1418079" y="441593"/>
                  <a:pt x="1425171" y="448143"/>
                  <a:pt x="1435554" y="448143"/>
                </a:cubicBezTo>
                <a:cubicBezTo>
                  <a:pt x="1442526" y="448143"/>
                  <a:pt x="1448331" y="445152"/>
                  <a:pt x="1452310" y="441055"/>
                </a:cubicBezTo>
                <a:lnTo>
                  <a:pt x="1461257" y="452988"/>
                </a:lnTo>
                <a:cubicBezTo>
                  <a:pt x="1455991" y="458820"/>
                  <a:pt x="1446326" y="463366"/>
                  <a:pt x="1434955" y="463366"/>
                </a:cubicBezTo>
                <a:cubicBezTo>
                  <a:pt x="1413771" y="463366"/>
                  <a:pt x="1398450" y="447305"/>
                  <a:pt x="1398450" y="427446"/>
                </a:cubicBezTo>
                <a:cubicBezTo>
                  <a:pt x="1398450" y="407707"/>
                  <a:pt x="1413082" y="391646"/>
                  <a:pt x="1432681" y="391646"/>
                </a:cubicBezTo>
                <a:close/>
                <a:moveTo>
                  <a:pt x="1178252" y="391646"/>
                </a:moveTo>
                <a:cubicBezTo>
                  <a:pt x="1187498" y="391646"/>
                  <a:pt x="1194589" y="395774"/>
                  <a:pt x="1199137" y="402443"/>
                </a:cubicBezTo>
                <a:lnTo>
                  <a:pt x="1199137" y="393471"/>
                </a:lnTo>
                <a:lnTo>
                  <a:pt x="1216463" y="393471"/>
                </a:lnTo>
                <a:lnTo>
                  <a:pt x="1216463" y="461512"/>
                </a:lnTo>
                <a:lnTo>
                  <a:pt x="1199137" y="461512"/>
                </a:lnTo>
                <a:lnTo>
                  <a:pt x="1199137" y="451851"/>
                </a:lnTo>
                <a:cubicBezTo>
                  <a:pt x="1194589" y="458820"/>
                  <a:pt x="1187498" y="463366"/>
                  <a:pt x="1178252" y="463366"/>
                </a:cubicBezTo>
                <a:cubicBezTo>
                  <a:pt x="1160358" y="463366"/>
                  <a:pt x="1145726" y="448741"/>
                  <a:pt x="1145726" y="427446"/>
                </a:cubicBezTo>
                <a:cubicBezTo>
                  <a:pt x="1145726" y="406989"/>
                  <a:pt x="1159520" y="391646"/>
                  <a:pt x="1178252" y="391646"/>
                </a:cubicBezTo>
                <a:close/>
                <a:moveTo>
                  <a:pt x="856616" y="391646"/>
                </a:moveTo>
                <a:cubicBezTo>
                  <a:pt x="865862" y="391646"/>
                  <a:pt x="872954" y="395774"/>
                  <a:pt x="877502" y="402443"/>
                </a:cubicBezTo>
                <a:lnTo>
                  <a:pt x="877502" y="393471"/>
                </a:lnTo>
                <a:lnTo>
                  <a:pt x="894827" y="393471"/>
                </a:lnTo>
                <a:lnTo>
                  <a:pt x="894827" y="461512"/>
                </a:lnTo>
                <a:lnTo>
                  <a:pt x="877502" y="461512"/>
                </a:lnTo>
                <a:lnTo>
                  <a:pt x="877502" y="451851"/>
                </a:lnTo>
                <a:cubicBezTo>
                  <a:pt x="872954" y="458820"/>
                  <a:pt x="865862" y="463366"/>
                  <a:pt x="856616" y="463366"/>
                </a:cubicBezTo>
                <a:cubicBezTo>
                  <a:pt x="838723" y="463366"/>
                  <a:pt x="824091" y="448741"/>
                  <a:pt x="824091" y="427446"/>
                </a:cubicBezTo>
                <a:cubicBezTo>
                  <a:pt x="824091" y="406989"/>
                  <a:pt x="837885" y="391646"/>
                  <a:pt x="856616" y="391646"/>
                </a:cubicBezTo>
                <a:close/>
                <a:moveTo>
                  <a:pt x="704701" y="391646"/>
                </a:moveTo>
                <a:cubicBezTo>
                  <a:pt x="724180" y="391646"/>
                  <a:pt x="739081" y="406571"/>
                  <a:pt x="739081" y="426160"/>
                </a:cubicBezTo>
                <a:cubicBezTo>
                  <a:pt x="739111" y="428403"/>
                  <a:pt x="738962" y="431095"/>
                  <a:pt x="738692" y="432232"/>
                </a:cubicBezTo>
                <a:lnTo>
                  <a:pt x="688243" y="432232"/>
                </a:lnTo>
                <a:cubicBezTo>
                  <a:pt x="690099" y="441593"/>
                  <a:pt x="697190" y="448143"/>
                  <a:pt x="707573" y="448143"/>
                </a:cubicBezTo>
                <a:cubicBezTo>
                  <a:pt x="714545" y="448143"/>
                  <a:pt x="720350" y="445152"/>
                  <a:pt x="724330" y="441055"/>
                </a:cubicBezTo>
                <a:lnTo>
                  <a:pt x="733276" y="452988"/>
                </a:lnTo>
                <a:cubicBezTo>
                  <a:pt x="728010" y="458820"/>
                  <a:pt x="718345" y="463366"/>
                  <a:pt x="706975" y="463366"/>
                </a:cubicBezTo>
                <a:cubicBezTo>
                  <a:pt x="685790" y="463366"/>
                  <a:pt x="670469" y="447305"/>
                  <a:pt x="670469" y="427446"/>
                </a:cubicBezTo>
                <a:cubicBezTo>
                  <a:pt x="670469" y="407707"/>
                  <a:pt x="685102" y="391646"/>
                  <a:pt x="704701" y="391646"/>
                </a:cubicBezTo>
                <a:close/>
                <a:moveTo>
                  <a:pt x="1051680" y="391616"/>
                </a:moveTo>
                <a:cubicBezTo>
                  <a:pt x="1071429" y="391616"/>
                  <a:pt x="1087048" y="407677"/>
                  <a:pt x="1087048" y="427417"/>
                </a:cubicBezTo>
                <a:cubicBezTo>
                  <a:pt x="1087048" y="447305"/>
                  <a:pt x="1071429" y="463336"/>
                  <a:pt x="1051680" y="463336"/>
                </a:cubicBezTo>
                <a:cubicBezTo>
                  <a:pt x="1031931" y="463336"/>
                  <a:pt x="1016312" y="447276"/>
                  <a:pt x="1016312" y="427417"/>
                </a:cubicBezTo>
                <a:cubicBezTo>
                  <a:pt x="1016312" y="407647"/>
                  <a:pt x="1031931" y="391616"/>
                  <a:pt x="1051680" y="391616"/>
                </a:cubicBezTo>
                <a:close/>
                <a:moveTo>
                  <a:pt x="1133219" y="391587"/>
                </a:moveTo>
                <a:cubicBezTo>
                  <a:pt x="1137767" y="391616"/>
                  <a:pt x="1141477" y="392753"/>
                  <a:pt x="1144020" y="394876"/>
                </a:cubicBezTo>
                <a:lnTo>
                  <a:pt x="1136929" y="411206"/>
                </a:lnTo>
                <a:cubicBezTo>
                  <a:pt x="1134655" y="409502"/>
                  <a:pt x="1131244" y="408365"/>
                  <a:pt x="1127833" y="408365"/>
                </a:cubicBezTo>
                <a:cubicBezTo>
                  <a:pt x="1121010" y="408365"/>
                  <a:pt x="1116462" y="414197"/>
                  <a:pt x="1116462" y="423409"/>
                </a:cubicBezTo>
                <a:lnTo>
                  <a:pt x="1116462" y="461482"/>
                </a:lnTo>
                <a:lnTo>
                  <a:pt x="1099137" y="461482"/>
                </a:lnTo>
                <a:lnTo>
                  <a:pt x="1099137" y="393441"/>
                </a:lnTo>
                <a:lnTo>
                  <a:pt x="1116462" y="393441"/>
                </a:lnTo>
                <a:lnTo>
                  <a:pt x="1116462" y="403520"/>
                </a:lnTo>
                <a:cubicBezTo>
                  <a:pt x="1119724" y="396282"/>
                  <a:pt x="1125558" y="391587"/>
                  <a:pt x="1133219" y="391587"/>
                </a:cubicBezTo>
                <a:close/>
                <a:moveTo>
                  <a:pt x="609398" y="386173"/>
                </a:moveTo>
                <a:lnTo>
                  <a:pt x="609398" y="386203"/>
                </a:lnTo>
                <a:lnTo>
                  <a:pt x="609398" y="408066"/>
                </a:lnTo>
                <a:lnTo>
                  <a:pt x="626603" y="408066"/>
                </a:lnTo>
                <a:cubicBezTo>
                  <a:pt x="634413" y="408066"/>
                  <a:pt x="639829" y="403520"/>
                  <a:pt x="639829" y="397120"/>
                </a:cubicBezTo>
                <a:cubicBezTo>
                  <a:pt x="639829" y="390719"/>
                  <a:pt x="634293" y="386173"/>
                  <a:pt x="626603" y="386173"/>
                </a:cubicBezTo>
                <a:close/>
                <a:moveTo>
                  <a:pt x="1608595" y="375855"/>
                </a:moveTo>
                <a:lnTo>
                  <a:pt x="1626069" y="375855"/>
                </a:lnTo>
                <a:lnTo>
                  <a:pt x="1626069" y="393471"/>
                </a:lnTo>
                <a:lnTo>
                  <a:pt x="1644412" y="393471"/>
                </a:lnTo>
                <a:lnTo>
                  <a:pt x="1644412" y="408814"/>
                </a:lnTo>
                <a:lnTo>
                  <a:pt x="1626219" y="408814"/>
                </a:lnTo>
                <a:lnTo>
                  <a:pt x="1626219" y="437795"/>
                </a:lnTo>
                <a:cubicBezTo>
                  <a:pt x="1626219" y="444195"/>
                  <a:pt x="1628763" y="447156"/>
                  <a:pt x="1633879" y="447156"/>
                </a:cubicBezTo>
                <a:cubicBezTo>
                  <a:pt x="1637141" y="447156"/>
                  <a:pt x="1640283" y="445720"/>
                  <a:pt x="1641988" y="443746"/>
                </a:cubicBezTo>
                <a:lnTo>
                  <a:pt x="1649648" y="456667"/>
                </a:lnTo>
                <a:cubicBezTo>
                  <a:pt x="1645968" y="460345"/>
                  <a:pt x="1639564" y="463336"/>
                  <a:pt x="1631186" y="463336"/>
                </a:cubicBezTo>
                <a:cubicBezTo>
                  <a:pt x="1617392" y="463336"/>
                  <a:pt x="1608595" y="454812"/>
                  <a:pt x="1608595" y="438213"/>
                </a:cubicBezTo>
                <a:lnTo>
                  <a:pt x="1608595" y="408814"/>
                </a:lnTo>
                <a:lnTo>
                  <a:pt x="1596656" y="408814"/>
                </a:lnTo>
                <a:lnTo>
                  <a:pt x="1596656" y="393471"/>
                </a:lnTo>
                <a:lnTo>
                  <a:pt x="1608595" y="393471"/>
                </a:lnTo>
                <a:close/>
                <a:moveTo>
                  <a:pt x="591654" y="370591"/>
                </a:moveTo>
                <a:lnTo>
                  <a:pt x="591804" y="370591"/>
                </a:lnTo>
                <a:cubicBezTo>
                  <a:pt x="592103" y="370591"/>
                  <a:pt x="609428" y="370591"/>
                  <a:pt x="609428" y="370591"/>
                </a:cubicBezTo>
                <a:lnTo>
                  <a:pt x="628339" y="370591"/>
                </a:lnTo>
                <a:cubicBezTo>
                  <a:pt x="645395" y="370591"/>
                  <a:pt x="658321" y="380969"/>
                  <a:pt x="658321" y="395714"/>
                </a:cubicBezTo>
                <a:cubicBezTo>
                  <a:pt x="658321" y="406361"/>
                  <a:pt x="650930" y="412193"/>
                  <a:pt x="644826" y="414735"/>
                </a:cubicBezTo>
                <a:cubicBezTo>
                  <a:pt x="653743" y="417457"/>
                  <a:pt x="660834" y="424545"/>
                  <a:pt x="660834" y="435910"/>
                </a:cubicBezTo>
                <a:cubicBezTo>
                  <a:pt x="660834" y="449549"/>
                  <a:pt x="650182" y="461482"/>
                  <a:pt x="630433" y="461482"/>
                </a:cubicBezTo>
                <a:lnTo>
                  <a:pt x="591654" y="461482"/>
                </a:lnTo>
                <a:close/>
                <a:moveTo>
                  <a:pt x="1306678" y="370442"/>
                </a:moveTo>
                <a:lnTo>
                  <a:pt x="1324452" y="370442"/>
                </a:lnTo>
                <a:lnTo>
                  <a:pt x="1324452" y="406660"/>
                </a:lnTo>
                <a:lnTo>
                  <a:pt x="1367929" y="406660"/>
                </a:lnTo>
                <a:lnTo>
                  <a:pt x="1367929" y="370442"/>
                </a:lnTo>
                <a:lnTo>
                  <a:pt x="1385703" y="370442"/>
                </a:lnTo>
                <a:lnTo>
                  <a:pt x="1385703" y="461482"/>
                </a:lnTo>
                <a:lnTo>
                  <a:pt x="1367929" y="461482"/>
                </a:lnTo>
                <a:lnTo>
                  <a:pt x="1367929" y="423289"/>
                </a:lnTo>
                <a:lnTo>
                  <a:pt x="1324452" y="423289"/>
                </a:lnTo>
                <a:lnTo>
                  <a:pt x="1324452" y="461482"/>
                </a:lnTo>
                <a:lnTo>
                  <a:pt x="1306678" y="461482"/>
                </a:lnTo>
                <a:close/>
                <a:moveTo>
                  <a:pt x="995426" y="364071"/>
                </a:moveTo>
                <a:cubicBezTo>
                  <a:pt x="1000962" y="364071"/>
                  <a:pt x="1005660" y="368617"/>
                  <a:pt x="1005660" y="374150"/>
                </a:cubicBezTo>
                <a:cubicBezTo>
                  <a:pt x="1005660" y="379833"/>
                  <a:pt x="1000962" y="384379"/>
                  <a:pt x="995426" y="384379"/>
                </a:cubicBezTo>
                <a:cubicBezTo>
                  <a:pt x="989741" y="384379"/>
                  <a:pt x="985342" y="379833"/>
                  <a:pt x="985342" y="374150"/>
                </a:cubicBezTo>
                <a:cubicBezTo>
                  <a:pt x="985342" y="368617"/>
                  <a:pt x="989741" y="364071"/>
                  <a:pt x="995426" y="364071"/>
                </a:cubicBezTo>
                <a:close/>
                <a:moveTo>
                  <a:pt x="1563831" y="363802"/>
                </a:moveTo>
                <a:lnTo>
                  <a:pt x="1581156" y="363802"/>
                </a:lnTo>
                <a:lnTo>
                  <a:pt x="1581156" y="439918"/>
                </a:lnTo>
                <a:cubicBezTo>
                  <a:pt x="1581156" y="445182"/>
                  <a:pt x="1584148" y="447156"/>
                  <a:pt x="1587260" y="447156"/>
                </a:cubicBezTo>
                <a:cubicBezTo>
                  <a:pt x="1588128" y="447156"/>
                  <a:pt x="1589265" y="446857"/>
                  <a:pt x="1590103" y="446438"/>
                </a:cubicBezTo>
                <a:lnTo>
                  <a:pt x="1591958" y="461631"/>
                </a:lnTo>
                <a:cubicBezTo>
                  <a:pt x="1589415" y="462499"/>
                  <a:pt x="1586123" y="463067"/>
                  <a:pt x="1583580" y="463067"/>
                </a:cubicBezTo>
                <a:cubicBezTo>
                  <a:pt x="1573765" y="463067"/>
                  <a:pt x="1563831" y="456816"/>
                  <a:pt x="1563831" y="439499"/>
                </a:cubicBezTo>
                <a:close/>
                <a:moveTo>
                  <a:pt x="1232950" y="363802"/>
                </a:moveTo>
                <a:lnTo>
                  <a:pt x="1250275" y="363802"/>
                </a:lnTo>
                <a:lnTo>
                  <a:pt x="1250275" y="439918"/>
                </a:lnTo>
                <a:cubicBezTo>
                  <a:pt x="1250275" y="445182"/>
                  <a:pt x="1253267" y="447156"/>
                  <a:pt x="1256379" y="447156"/>
                </a:cubicBezTo>
                <a:cubicBezTo>
                  <a:pt x="1257247" y="447156"/>
                  <a:pt x="1258384" y="446857"/>
                  <a:pt x="1259222" y="446438"/>
                </a:cubicBezTo>
                <a:lnTo>
                  <a:pt x="1261077" y="461631"/>
                </a:lnTo>
                <a:cubicBezTo>
                  <a:pt x="1258533" y="462499"/>
                  <a:pt x="1255242" y="463067"/>
                  <a:pt x="1252698" y="463067"/>
                </a:cubicBezTo>
                <a:cubicBezTo>
                  <a:pt x="1242884" y="463067"/>
                  <a:pt x="1232950" y="456816"/>
                  <a:pt x="1232950" y="439499"/>
                </a:cubicBezTo>
                <a:close/>
                <a:moveTo>
                  <a:pt x="1661168" y="363772"/>
                </a:moveTo>
                <a:lnTo>
                  <a:pt x="1678494" y="363772"/>
                </a:lnTo>
                <a:lnTo>
                  <a:pt x="1678494" y="403101"/>
                </a:lnTo>
                <a:cubicBezTo>
                  <a:pt x="1682054" y="395863"/>
                  <a:pt x="1688876" y="391587"/>
                  <a:pt x="1697823" y="391587"/>
                </a:cubicBezTo>
                <a:cubicBezTo>
                  <a:pt x="1713443" y="391616"/>
                  <a:pt x="1723527" y="402533"/>
                  <a:pt x="1723527" y="420298"/>
                </a:cubicBezTo>
                <a:lnTo>
                  <a:pt x="1723527" y="461482"/>
                </a:lnTo>
                <a:lnTo>
                  <a:pt x="1706202" y="461482"/>
                </a:lnTo>
                <a:lnTo>
                  <a:pt x="1706202" y="422841"/>
                </a:lnTo>
                <a:cubicBezTo>
                  <a:pt x="1706202" y="413599"/>
                  <a:pt x="1700935" y="407797"/>
                  <a:pt x="1692407" y="407797"/>
                </a:cubicBezTo>
                <a:cubicBezTo>
                  <a:pt x="1683880" y="407797"/>
                  <a:pt x="1678494" y="413629"/>
                  <a:pt x="1678494" y="422841"/>
                </a:cubicBezTo>
                <a:lnTo>
                  <a:pt x="1678494" y="461482"/>
                </a:lnTo>
                <a:lnTo>
                  <a:pt x="1661168" y="461482"/>
                </a:lnTo>
                <a:close/>
                <a:moveTo>
                  <a:pt x="750213" y="363772"/>
                </a:moveTo>
                <a:lnTo>
                  <a:pt x="767538" y="363772"/>
                </a:lnTo>
                <a:lnTo>
                  <a:pt x="767538" y="403101"/>
                </a:lnTo>
                <a:cubicBezTo>
                  <a:pt x="771098" y="395863"/>
                  <a:pt x="777921" y="391587"/>
                  <a:pt x="786867" y="391587"/>
                </a:cubicBezTo>
                <a:cubicBezTo>
                  <a:pt x="802487" y="391616"/>
                  <a:pt x="812571" y="402533"/>
                  <a:pt x="812571" y="420298"/>
                </a:cubicBezTo>
                <a:lnTo>
                  <a:pt x="812571" y="461482"/>
                </a:lnTo>
                <a:lnTo>
                  <a:pt x="795246" y="461482"/>
                </a:lnTo>
                <a:lnTo>
                  <a:pt x="795246" y="422841"/>
                </a:lnTo>
                <a:cubicBezTo>
                  <a:pt x="795246" y="413599"/>
                  <a:pt x="789979" y="407797"/>
                  <a:pt x="781451" y="407797"/>
                </a:cubicBezTo>
                <a:cubicBezTo>
                  <a:pt x="772924" y="407797"/>
                  <a:pt x="767538" y="413629"/>
                  <a:pt x="767538" y="422841"/>
                </a:cubicBezTo>
                <a:lnTo>
                  <a:pt x="767538" y="461482"/>
                </a:lnTo>
                <a:lnTo>
                  <a:pt x="750213" y="461482"/>
                </a:lnTo>
                <a:close/>
                <a:moveTo>
                  <a:pt x="1760720" y="269382"/>
                </a:moveTo>
                <a:lnTo>
                  <a:pt x="1764580" y="269382"/>
                </a:lnTo>
                <a:lnTo>
                  <a:pt x="1773138" y="282960"/>
                </a:lnTo>
                <a:lnTo>
                  <a:pt x="1781666" y="269382"/>
                </a:lnTo>
                <a:lnTo>
                  <a:pt x="1785077" y="269382"/>
                </a:lnTo>
                <a:lnTo>
                  <a:pt x="1785077" y="293099"/>
                </a:lnTo>
                <a:lnTo>
                  <a:pt x="1781756" y="293099"/>
                </a:lnTo>
                <a:lnTo>
                  <a:pt x="1781756" y="274705"/>
                </a:lnTo>
                <a:lnTo>
                  <a:pt x="1772929" y="288433"/>
                </a:lnTo>
                <a:lnTo>
                  <a:pt x="1764042" y="274705"/>
                </a:lnTo>
                <a:lnTo>
                  <a:pt x="1764042" y="293099"/>
                </a:lnTo>
                <a:lnTo>
                  <a:pt x="1760720" y="293099"/>
                </a:lnTo>
                <a:close/>
                <a:moveTo>
                  <a:pt x="1748452" y="268963"/>
                </a:moveTo>
                <a:cubicBezTo>
                  <a:pt x="1752163" y="268963"/>
                  <a:pt x="1755155" y="270578"/>
                  <a:pt x="1756591" y="272642"/>
                </a:cubicBezTo>
                <a:lnTo>
                  <a:pt x="1754287" y="274885"/>
                </a:lnTo>
                <a:cubicBezTo>
                  <a:pt x="1753210" y="273359"/>
                  <a:pt x="1750966" y="272073"/>
                  <a:pt x="1748392" y="272073"/>
                </a:cubicBezTo>
                <a:cubicBezTo>
                  <a:pt x="1745550" y="272073"/>
                  <a:pt x="1743754" y="273330"/>
                  <a:pt x="1743754" y="275274"/>
                </a:cubicBezTo>
                <a:cubicBezTo>
                  <a:pt x="1743754" y="280508"/>
                  <a:pt x="1757010" y="278115"/>
                  <a:pt x="1757010" y="286549"/>
                </a:cubicBezTo>
                <a:cubicBezTo>
                  <a:pt x="1757010" y="290736"/>
                  <a:pt x="1753599" y="293547"/>
                  <a:pt x="1748303" y="293547"/>
                </a:cubicBezTo>
                <a:cubicBezTo>
                  <a:pt x="1743844" y="293547"/>
                  <a:pt x="1740972" y="291813"/>
                  <a:pt x="1739326" y="289510"/>
                </a:cubicBezTo>
                <a:lnTo>
                  <a:pt x="1741720" y="287267"/>
                </a:lnTo>
                <a:cubicBezTo>
                  <a:pt x="1743306" y="289330"/>
                  <a:pt x="1745610" y="290407"/>
                  <a:pt x="1748303" y="290407"/>
                </a:cubicBezTo>
                <a:cubicBezTo>
                  <a:pt x="1751564" y="290407"/>
                  <a:pt x="1753419" y="289001"/>
                  <a:pt x="1753419" y="286788"/>
                </a:cubicBezTo>
                <a:cubicBezTo>
                  <a:pt x="1753419" y="281016"/>
                  <a:pt x="1740164" y="283558"/>
                  <a:pt x="1740164" y="275393"/>
                </a:cubicBezTo>
                <a:cubicBezTo>
                  <a:pt x="1740164" y="271565"/>
                  <a:pt x="1743545" y="268963"/>
                  <a:pt x="1748452" y="268963"/>
                </a:cubicBezTo>
                <a:close/>
                <a:moveTo>
                  <a:pt x="1411587" y="134646"/>
                </a:moveTo>
                <a:cubicBezTo>
                  <a:pt x="1380557" y="134646"/>
                  <a:pt x="1357906" y="160217"/>
                  <a:pt x="1357906" y="192488"/>
                </a:cubicBezTo>
                <a:cubicBezTo>
                  <a:pt x="1357906" y="224759"/>
                  <a:pt x="1380557" y="250749"/>
                  <a:pt x="1411587" y="250749"/>
                </a:cubicBezTo>
                <a:cubicBezTo>
                  <a:pt x="1442197" y="250749"/>
                  <a:pt x="1464429" y="224759"/>
                  <a:pt x="1464429" y="192488"/>
                </a:cubicBezTo>
                <a:cubicBezTo>
                  <a:pt x="1464429" y="160217"/>
                  <a:pt x="1442197" y="134646"/>
                  <a:pt x="1411587" y="134646"/>
                </a:cubicBezTo>
                <a:close/>
                <a:moveTo>
                  <a:pt x="742014" y="134646"/>
                </a:moveTo>
                <a:cubicBezTo>
                  <a:pt x="710985" y="134646"/>
                  <a:pt x="688334" y="160217"/>
                  <a:pt x="688334" y="192488"/>
                </a:cubicBezTo>
                <a:cubicBezTo>
                  <a:pt x="688334" y="224759"/>
                  <a:pt x="710985" y="250749"/>
                  <a:pt x="742014" y="250749"/>
                </a:cubicBezTo>
                <a:cubicBezTo>
                  <a:pt x="772625" y="250749"/>
                  <a:pt x="794857" y="224759"/>
                  <a:pt x="794857" y="192488"/>
                </a:cubicBezTo>
                <a:cubicBezTo>
                  <a:pt x="794857" y="160217"/>
                  <a:pt x="772625" y="134646"/>
                  <a:pt x="742014" y="134646"/>
                </a:cubicBezTo>
                <a:close/>
                <a:moveTo>
                  <a:pt x="1110987" y="130070"/>
                </a:moveTo>
                <a:cubicBezTo>
                  <a:pt x="1085373" y="130040"/>
                  <a:pt x="1067779" y="147656"/>
                  <a:pt x="1061914" y="173227"/>
                </a:cubicBezTo>
                <a:lnTo>
                  <a:pt x="1158773" y="173227"/>
                </a:lnTo>
                <a:cubicBezTo>
                  <a:pt x="1152908" y="144725"/>
                  <a:pt x="1134865" y="130070"/>
                  <a:pt x="1110987" y="130070"/>
                </a:cubicBezTo>
                <a:close/>
                <a:moveTo>
                  <a:pt x="733636" y="86494"/>
                </a:moveTo>
                <a:cubicBezTo>
                  <a:pt x="760057" y="86494"/>
                  <a:pt x="780584" y="96124"/>
                  <a:pt x="794857" y="112484"/>
                </a:cubicBezTo>
                <a:lnTo>
                  <a:pt x="794857" y="92356"/>
                </a:lnTo>
                <a:lnTo>
                  <a:pt x="846443" y="92356"/>
                </a:lnTo>
                <a:lnTo>
                  <a:pt x="846443" y="293099"/>
                </a:lnTo>
                <a:lnTo>
                  <a:pt x="794857" y="293099"/>
                </a:lnTo>
                <a:lnTo>
                  <a:pt x="794857" y="271296"/>
                </a:lnTo>
                <a:cubicBezTo>
                  <a:pt x="780195" y="288493"/>
                  <a:pt x="759639" y="298961"/>
                  <a:pt x="733636" y="298961"/>
                </a:cubicBezTo>
                <a:cubicBezTo>
                  <a:pt x="680374" y="298961"/>
                  <a:pt x="637196" y="255385"/>
                  <a:pt x="637196" y="192937"/>
                </a:cubicBezTo>
                <a:cubicBezTo>
                  <a:pt x="637196" y="132164"/>
                  <a:pt x="677861" y="86494"/>
                  <a:pt x="733636" y="86494"/>
                </a:cubicBezTo>
                <a:close/>
                <a:moveTo>
                  <a:pt x="555628" y="86494"/>
                </a:moveTo>
                <a:cubicBezTo>
                  <a:pt x="590009" y="86494"/>
                  <a:pt x="617268" y="98218"/>
                  <a:pt x="634862" y="116671"/>
                </a:cubicBezTo>
                <a:lnTo>
                  <a:pt x="605509" y="153129"/>
                </a:lnTo>
                <a:cubicBezTo>
                  <a:pt x="592941" y="140957"/>
                  <a:pt x="577860" y="134676"/>
                  <a:pt x="558141" y="134676"/>
                </a:cubicBezTo>
                <a:cubicBezTo>
                  <a:pt x="524599" y="134676"/>
                  <a:pt x="501947" y="160247"/>
                  <a:pt x="501947" y="192518"/>
                </a:cubicBezTo>
                <a:cubicBezTo>
                  <a:pt x="501947" y="224789"/>
                  <a:pt x="525017" y="250779"/>
                  <a:pt x="557723" y="250779"/>
                </a:cubicBezTo>
                <a:cubicBezTo>
                  <a:pt x="578279" y="250779"/>
                  <a:pt x="594617" y="243661"/>
                  <a:pt x="607184" y="231070"/>
                </a:cubicBezTo>
                <a:lnTo>
                  <a:pt x="633187" y="268784"/>
                </a:lnTo>
                <a:cubicBezTo>
                  <a:pt x="617238" y="286370"/>
                  <a:pt x="588333" y="298961"/>
                  <a:pt x="556466" y="298961"/>
                </a:cubicBezTo>
                <a:cubicBezTo>
                  <a:pt x="496920" y="298961"/>
                  <a:pt x="450810" y="251198"/>
                  <a:pt x="450810" y="192937"/>
                </a:cubicBezTo>
                <a:cubicBezTo>
                  <a:pt x="450810" y="134257"/>
                  <a:pt x="496920" y="86494"/>
                  <a:pt x="555628" y="86494"/>
                </a:cubicBezTo>
                <a:close/>
                <a:moveTo>
                  <a:pt x="1647225" y="86464"/>
                </a:moveTo>
                <a:cubicBezTo>
                  <a:pt x="1693754" y="86464"/>
                  <a:pt x="1723527" y="119154"/>
                  <a:pt x="1723527" y="171553"/>
                </a:cubicBezTo>
                <a:lnTo>
                  <a:pt x="1723527" y="293099"/>
                </a:lnTo>
                <a:lnTo>
                  <a:pt x="1672360" y="293099"/>
                </a:lnTo>
                <a:lnTo>
                  <a:pt x="1672360" y="179089"/>
                </a:lnTo>
                <a:cubicBezTo>
                  <a:pt x="1672360" y="151843"/>
                  <a:pt x="1656411" y="134676"/>
                  <a:pt x="1631695" y="134676"/>
                </a:cubicBezTo>
                <a:cubicBezTo>
                  <a:pt x="1606112" y="134676"/>
                  <a:pt x="1590612" y="151843"/>
                  <a:pt x="1590612" y="179089"/>
                </a:cubicBezTo>
                <a:lnTo>
                  <a:pt x="1590612" y="293069"/>
                </a:lnTo>
                <a:lnTo>
                  <a:pt x="1539445" y="293069"/>
                </a:lnTo>
                <a:lnTo>
                  <a:pt x="1539445" y="92326"/>
                </a:lnTo>
                <a:lnTo>
                  <a:pt x="1590612" y="92326"/>
                </a:lnTo>
                <a:lnTo>
                  <a:pt x="1590612" y="112035"/>
                </a:lnTo>
                <a:cubicBezTo>
                  <a:pt x="1603179" y="95676"/>
                  <a:pt x="1622479" y="86464"/>
                  <a:pt x="1647225" y="86464"/>
                </a:cubicBezTo>
                <a:close/>
                <a:moveTo>
                  <a:pt x="1411168" y="86464"/>
                </a:moveTo>
                <a:cubicBezTo>
                  <a:pt x="1469456" y="86464"/>
                  <a:pt x="1515986" y="134227"/>
                  <a:pt x="1515986" y="192907"/>
                </a:cubicBezTo>
                <a:cubicBezTo>
                  <a:pt x="1515986" y="251168"/>
                  <a:pt x="1469456" y="298931"/>
                  <a:pt x="1411168" y="298931"/>
                </a:cubicBezTo>
                <a:cubicBezTo>
                  <a:pt x="1352879" y="298961"/>
                  <a:pt x="1306769" y="251168"/>
                  <a:pt x="1306769" y="192907"/>
                </a:cubicBezTo>
                <a:cubicBezTo>
                  <a:pt x="1306769" y="134227"/>
                  <a:pt x="1352879" y="86464"/>
                  <a:pt x="1411168" y="86464"/>
                </a:cubicBezTo>
                <a:close/>
                <a:moveTo>
                  <a:pt x="1110119" y="86464"/>
                </a:moveTo>
                <a:cubicBezTo>
                  <a:pt x="1167570" y="86464"/>
                  <a:pt x="1211167" y="130878"/>
                  <a:pt x="1211167" y="188720"/>
                </a:cubicBezTo>
                <a:cubicBezTo>
                  <a:pt x="1211167" y="195001"/>
                  <a:pt x="1210748" y="202119"/>
                  <a:pt x="1209910" y="205468"/>
                </a:cubicBezTo>
                <a:lnTo>
                  <a:pt x="1061046" y="205468"/>
                </a:lnTo>
                <a:cubicBezTo>
                  <a:pt x="1066073" y="233552"/>
                  <a:pt x="1087468" y="253680"/>
                  <a:pt x="1118497" y="253680"/>
                </a:cubicBezTo>
                <a:cubicBezTo>
                  <a:pt x="1138635" y="253680"/>
                  <a:pt x="1155810" y="244887"/>
                  <a:pt x="1167570" y="232715"/>
                </a:cubicBezTo>
                <a:lnTo>
                  <a:pt x="1193991" y="267498"/>
                </a:lnTo>
                <a:cubicBezTo>
                  <a:pt x="1178910" y="285084"/>
                  <a:pt x="1150394" y="298931"/>
                  <a:pt x="1116433" y="298931"/>
                </a:cubicBezTo>
                <a:cubicBezTo>
                  <a:pt x="1053925" y="298961"/>
                  <a:pt x="1008652" y="251168"/>
                  <a:pt x="1008652" y="192907"/>
                </a:cubicBezTo>
                <a:cubicBezTo>
                  <a:pt x="1008652" y="134227"/>
                  <a:pt x="1052249" y="86464"/>
                  <a:pt x="1110119" y="86464"/>
                </a:cubicBezTo>
                <a:close/>
                <a:moveTo>
                  <a:pt x="983518" y="86464"/>
                </a:moveTo>
                <a:cubicBezTo>
                  <a:pt x="996923" y="86464"/>
                  <a:pt x="1007844" y="90232"/>
                  <a:pt x="1015804" y="96513"/>
                </a:cubicBezTo>
                <a:lnTo>
                  <a:pt x="994409" y="145144"/>
                </a:lnTo>
                <a:cubicBezTo>
                  <a:pt x="987707" y="139700"/>
                  <a:pt x="977623" y="136351"/>
                  <a:pt x="967988" y="136351"/>
                </a:cubicBezTo>
                <a:cubicBezTo>
                  <a:pt x="947431" y="136351"/>
                  <a:pt x="934445" y="153548"/>
                  <a:pt x="934445" y="180764"/>
                </a:cubicBezTo>
                <a:lnTo>
                  <a:pt x="934445" y="293069"/>
                </a:lnTo>
                <a:lnTo>
                  <a:pt x="883278" y="293069"/>
                </a:lnTo>
                <a:lnTo>
                  <a:pt x="883278" y="92326"/>
                </a:lnTo>
                <a:lnTo>
                  <a:pt x="934445" y="92326"/>
                </a:lnTo>
                <a:lnTo>
                  <a:pt x="934445" y="114129"/>
                </a:lnTo>
                <a:cubicBezTo>
                  <a:pt x="945756" y="97351"/>
                  <a:pt x="962542" y="86464"/>
                  <a:pt x="983518" y="86464"/>
                </a:cubicBezTo>
                <a:close/>
                <a:moveTo>
                  <a:pt x="289840" y="38556"/>
                </a:moveTo>
                <a:cubicBezTo>
                  <a:pt x="268622" y="39645"/>
                  <a:pt x="249103" y="53154"/>
                  <a:pt x="241383" y="74352"/>
                </a:cubicBezTo>
                <a:cubicBezTo>
                  <a:pt x="235129" y="91489"/>
                  <a:pt x="238062" y="109763"/>
                  <a:pt x="247637" y="123760"/>
                </a:cubicBezTo>
                <a:lnTo>
                  <a:pt x="192849" y="146131"/>
                </a:lnTo>
                <a:lnTo>
                  <a:pt x="138151" y="123610"/>
                </a:lnTo>
                <a:cubicBezTo>
                  <a:pt x="140635" y="119962"/>
                  <a:pt x="142699" y="115924"/>
                  <a:pt x="144285" y="111587"/>
                </a:cubicBezTo>
                <a:lnTo>
                  <a:pt x="147574" y="93063"/>
                </a:lnTo>
                <a:lnTo>
                  <a:pt x="137965" y="62101"/>
                </a:lnTo>
                <a:cubicBezTo>
                  <a:pt x="131763" y="53072"/>
                  <a:pt x="122787" y="45819"/>
                  <a:pt x="111700" y="41782"/>
                </a:cubicBezTo>
                <a:cubicBezTo>
                  <a:pt x="104624" y="39210"/>
                  <a:pt x="97362" y="38193"/>
                  <a:pt x="90289" y="38556"/>
                </a:cubicBezTo>
                <a:cubicBezTo>
                  <a:pt x="69070" y="39645"/>
                  <a:pt x="49552" y="53154"/>
                  <a:pt x="41831" y="74352"/>
                </a:cubicBezTo>
                <a:cubicBezTo>
                  <a:pt x="31538" y="102645"/>
                  <a:pt x="46140" y="133899"/>
                  <a:pt x="74417" y="144187"/>
                </a:cubicBezTo>
                <a:cubicBezTo>
                  <a:pt x="91562" y="150438"/>
                  <a:pt x="109845" y="147507"/>
                  <a:pt x="123849" y="137936"/>
                </a:cubicBezTo>
                <a:lnTo>
                  <a:pt x="146231" y="192668"/>
                </a:lnTo>
                <a:lnTo>
                  <a:pt x="123699" y="247340"/>
                </a:lnTo>
                <a:cubicBezTo>
                  <a:pt x="120048" y="244858"/>
                  <a:pt x="116009" y="242794"/>
                  <a:pt x="111670" y="241209"/>
                </a:cubicBezTo>
                <a:cubicBezTo>
                  <a:pt x="105536" y="238996"/>
                  <a:pt x="99282" y="237919"/>
                  <a:pt x="93118" y="237919"/>
                </a:cubicBezTo>
                <a:lnTo>
                  <a:pt x="93128" y="237895"/>
                </a:lnTo>
                <a:lnTo>
                  <a:pt x="62160" y="247497"/>
                </a:lnTo>
                <a:cubicBezTo>
                  <a:pt x="53127" y="253696"/>
                  <a:pt x="45871" y="262668"/>
                  <a:pt x="41831" y="273749"/>
                </a:cubicBezTo>
                <a:cubicBezTo>
                  <a:pt x="31538" y="302042"/>
                  <a:pt x="46140" y="333296"/>
                  <a:pt x="74417" y="343584"/>
                </a:cubicBezTo>
                <a:cubicBezTo>
                  <a:pt x="102723" y="353872"/>
                  <a:pt x="133992" y="339277"/>
                  <a:pt x="144286" y="311014"/>
                </a:cubicBezTo>
                <a:cubicBezTo>
                  <a:pt x="150539" y="293877"/>
                  <a:pt x="147607" y="275603"/>
                  <a:pt x="138032" y="261606"/>
                </a:cubicBezTo>
                <a:lnTo>
                  <a:pt x="192820" y="239235"/>
                </a:lnTo>
                <a:lnTo>
                  <a:pt x="247458" y="261785"/>
                </a:lnTo>
                <a:cubicBezTo>
                  <a:pt x="244974" y="265434"/>
                  <a:pt x="242910" y="269472"/>
                  <a:pt x="241324" y="273808"/>
                </a:cubicBezTo>
                <a:lnTo>
                  <a:pt x="238035" y="292332"/>
                </a:lnTo>
                <a:lnTo>
                  <a:pt x="247644" y="323295"/>
                </a:lnTo>
                <a:cubicBezTo>
                  <a:pt x="253846" y="332324"/>
                  <a:pt x="262823" y="339577"/>
                  <a:pt x="273909" y="343614"/>
                </a:cubicBezTo>
                <a:cubicBezTo>
                  <a:pt x="302215" y="353902"/>
                  <a:pt x="333484" y="339307"/>
                  <a:pt x="343778" y="311044"/>
                </a:cubicBezTo>
                <a:cubicBezTo>
                  <a:pt x="354071" y="282751"/>
                  <a:pt x="339469" y="251497"/>
                  <a:pt x="311192" y="241208"/>
                </a:cubicBezTo>
                <a:cubicBezTo>
                  <a:pt x="294047" y="234958"/>
                  <a:pt x="275764" y="237889"/>
                  <a:pt x="261760" y="247459"/>
                </a:cubicBezTo>
                <a:lnTo>
                  <a:pt x="239379" y="192697"/>
                </a:lnTo>
                <a:lnTo>
                  <a:pt x="261940" y="138115"/>
                </a:lnTo>
                <a:cubicBezTo>
                  <a:pt x="265591" y="140597"/>
                  <a:pt x="269630" y="142661"/>
                  <a:pt x="273969" y="144246"/>
                </a:cubicBezTo>
                <a:lnTo>
                  <a:pt x="292497" y="147532"/>
                </a:lnTo>
                <a:lnTo>
                  <a:pt x="292520" y="147477"/>
                </a:lnTo>
                <a:cubicBezTo>
                  <a:pt x="314813" y="147507"/>
                  <a:pt x="335758" y="133779"/>
                  <a:pt x="343837" y="111617"/>
                </a:cubicBezTo>
                <a:cubicBezTo>
                  <a:pt x="354130" y="83324"/>
                  <a:pt x="339528" y="52070"/>
                  <a:pt x="311252" y="41782"/>
                </a:cubicBezTo>
                <a:cubicBezTo>
                  <a:pt x="304175" y="39210"/>
                  <a:pt x="296913" y="38193"/>
                  <a:pt x="289840" y="38556"/>
                </a:cubicBezTo>
                <a:close/>
                <a:moveTo>
                  <a:pt x="1232142" y="4755"/>
                </a:moveTo>
                <a:lnTo>
                  <a:pt x="1283310" y="4755"/>
                </a:lnTo>
                <a:lnTo>
                  <a:pt x="1283310" y="293099"/>
                </a:lnTo>
                <a:lnTo>
                  <a:pt x="1232142" y="293099"/>
                </a:lnTo>
                <a:lnTo>
                  <a:pt x="1232142" y="156868"/>
                </a:lnTo>
                <a:close/>
                <a:moveTo>
                  <a:pt x="93029" y="0"/>
                </a:moveTo>
                <a:cubicBezTo>
                  <a:pt x="144435" y="0"/>
                  <a:pt x="186087" y="41632"/>
                  <a:pt x="186087" y="92984"/>
                </a:cubicBezTo>
                <a:lnTo>
                  <a:pt x="184801" y="108375"/>
                </a:lnTo>
                <a:lnTo>
                  <a:pt x="192819" y="111677"/>
                </a:lnTo>
                <a:lnTo>
                  <a:pt x="200808" y="108387"/>
                </a:lnTo>
                <a:cubicBezTo>
                  <a:pt x="200000" y="103751"/>
                  <a:pt x="199552" y="97859"/>
                  <a:pt x="199552" y="92984"/>
                </a:cubicBezTo>
                <a:cubicBezTo>
                  <a:pt x="199552" y="41632"/>
                  <a:pt x="241204" y="0"/>
                  <a:pt x="292580" y="0"/>
                </a:cubicBezTo>
                <a:cubicBezTo>
                  <a:pt x="343957" y="0"/>
                  <a:pt x="385609" y="41632"/>
                  <a:pt x="385609" y="92984"/>
                </a:cubicBezTo>
                <a:cubicBezTo>
                  <a:pt x="385609" y="144337"/>
                  <a:pt x="343957" y="185969"/>
                  <a:pt x="292580" y="185969"/>
                </a:cubicBezTo>
                <a:lnTo>
                  <a:pt x="277196" y="184685"/>
                </a:lnTo>
                <a:lnTo>
                  <a:pt x="273879" y="192727"/>
                </a:lnTo>
                <a:lnTo>
                  <a:pt x="277170" y="200713"/>
                </a:lnTo>
                <a:cubicBezTo>
                  <a:pt x="281868" y="199875"/>
                  <a:pt x="287703" y="199427"/>
                  <a:pt x="292580" y="199427"/>
                </a:cubicBezTo>
                <a:cubicBezTo>
                  <a:pt x="343957" y="199427"/>
                  <a:pt x="385579" y="241059"/>
                  <a:pt x="385579" y="292411"/>
                </a:cubicBezTo>
                <a:cubicBezTo>
                  <a:pt x="385579" y="343763"/>
                  <a:pt x="343927" y="385395"/>
                  <a:pt x="292551" y="385395"/>
                </a:cubicBezTo>
                <a:cubicBezTo>
                  <a:pt x="241174" y="385395"/>
                  <a:pt x="199522" y="343763"/>
                  <a:pt x="199522" y="292411"/>
                </a:cubicBezTo>
                <a:lnTo>
                  <a:pt x="200808" y="277021"/>
                </a:lnTo>
                <a:lnTo>
                  <a:pt x="192790" y="273719"/>
                </a:lnTo>
                <a:lnTo>
                  <a:pt x="184770" y="277009"/>
                </a:lnTo>
                <a:cubicBezTo>
                  <a:pt x="185638" y="281913"/>
                  <a:pt x="186057" y="287536"/>
                  <a:pt x="186057" y="292411"/>
                </a:cubicBezTo>
                <a:cubicBezTo>
                  <a:pt x="186057" y="343763"/>
                  <a:pt x="144405" y="385396"/>
                  <a:pt x="93029" y="385396"/>
                </a:cubicBezTo>
                <a:cubicBezTo>
                  <a:pt x="41652" y="385396"/>
                  <a:pt x="0" y="343763"/>
                  <a:pt x="0" y="292411"/>
                </a:cubicBezTo>
                <a:cubicBezTo>
                  <a:pt x="0" y="241059"/>
                  <a:pt x="41652" y="199427"/>
                  <a:pt x="93058" y="199367"/>
                </a:cubicBezTo>
                <a:lnTo>
                  <a:pt x="108458" y="200682"/>
                </a:lnTo>
                <a:lnTo>
                  <a:pt x="111760" y="192668"/>
                </a:lnTo>
                <a:lnTo>
                  <a:pt x="108439" y="184713"/>
                </a:lnTo>
                <a:cubicBezTo>
                  <a:pt x="103801" y="185520"/>
                  <a:pt x="97906" y="185939"/>
                  <a:pt x="93029" y="185939"/>
                </a:cubicBezTo>
                <a:cubicBezTo>
                  <a:pt x="41652" y="185939"/>
                  <a:pt x="0" y="144337"/>
                  <a:pt x="0" y="92984"/>
                </a:cubicBezTo>
                <a:cubicBezTo>
                  <a:pt x="0" y="41632"/>
                  <a:pt x="41652" y="0"/>
                  <a:pt x="93029" y="0"/>
                </a:cubicBezTo>
                <a:close/>
              </a:path>
            </a:pathLst>
          </a:custGeom>
          <a:solidFill>
            <a:schemeClr val="bg1"/>
          </a:solidFill>
        </p:spPr>
        <p:txBody>
          <a:bodyPr wrap="square">
            <a:noAutofit/>
          </a:bodyPr>
          <a:lstStyle>
            <a:lvl1pPr>
              <a:defRPr sz="100">
                <a:solidFill>
                  <a:schemeClr val="tx2">
                    <a:alpha val="0"/>
                  </a:schemeClr>
                </a:solidFill>
              </a:defRPr>
            </a:lvl1pPr>
            <a:lvl2pPr>
              <a:defRPr sz="100">
                <a:solidFill>
                  <a:schemeClr val="tx2">
                    <a:alpha val="0"/>
                  </a:schemeClr>
                </a:solidFill>
              </a:defRPr>
            </a:lvl2pPr>
            <a:lvl3pPr>
              <a:defRPr sz="100">
                <a:solidFill>
                  <a:schemeClr val="tx2">
                    <a:alpha val="0"/>
                  </a:schemeClr>
                </a:solidFill>
              </a:defRPr>
            </a:lvl3pPr>
            <a:lvl4pPr>
              <a:defRPr sz="100">
                <a:solidFill>
                  <a:schemeClr val="tx2">
                    <a:alpha val="0"/>
                  </a:schemeClr>
                </a:solidFill>
              </a:defRPr>
            </a:lvl4pPr>
            <a:lvl5pPr>
              <a:defRPr sz="100">
                <a:solidFill>
                  <a:schemeClr val="tx2">
                    <a:alpha val="0"/>
                  </a:schemeClr>
                </a:solidFill>
              </a:defRPr>
            </a:lvl5pPr>
          </a:lstStyle>
          <a:p>
            <a:pPr lvl="0"/>
            <a:r>
              <a:rPr lang="en-US"/>
              <a:t>Click to edit Master text styles</a:t>
            </a:r>
          </a:p>
        </p:txBody>
      </p:sp>
    </p:spTree>
    <p:extLst>
      <p:ext uri="{BB962C8B-B14F-4D97-AF65-F5344CB8AC3E}">
        <p14:creationId xmlns:p14="http://schemas.microsoft.com/office/powerpoint/2010/main" val="199273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Image 2">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23114C3-EDAA-984F-A7E5-1E563968A441}"/>
              </a:ext>
            </a:extLst>
          </p:cNvPr>
          <p:cNvSpPr>
            <a:spLocks noGrp="1"/>
          </p:cNvSpPr>
          <p:nvPr>
            <p:ph type="pic" sz="quarter" idx="10"/>
          </p:nvPr>
        </p:nvSpPr>
        <p:spPr>
          <a:xfrm>
            <a:off x="0" y="0"/>
            <a:ext cx="12192000" cy="3441700"/>
          </a:xfrm>
          <a:prstGeom prst="rect">
            <a:avLst/>
          </a:prstGeom>
          <a:solidFill>
            <a:schemeClr val="bg1">
              <a:lumMod val="95000"/>
            </a:schemeClr>
          </a:solidFill>
        </p:spPr>
        <p:txBody>
          <a:bodyPr/>
          <a:lstStyle>
            <a:lvl1pPr marL="0" indent="0">
              <a:buNone/>
              <a:defRPr sz="1200"/>
            </a:lvl1pPr>
          </a:lstStyle>
          <a:p>
            <a:r>
              <a:rPr lang="en-US"/>
              <a:t>Click icon to add picture</a:t>
            </a:r>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876609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B6E5172-0EAF-9541-B6B0-E49938BC848D}"/>
              </a:ext>
            </a:extLst>
          </p:cNvPr>
          <p:cNvSpPr>
            <a:spLocks noGrp="1"/>
          </p:cNvSpPr>
          <p:nvPr>
            <p:ph type="ctrTitle" hasCustomPrompt="1"/>
          </p:nvPr>
        </p:nvSpPr>
        <p:spPr>
          <a:xfrm>
            <a:off x="457198" y="3759716"/>
            <a:ext cx="9366251" cy="622714"/>
          </a:xfrm>
        </p:spPr>
        <p:txBody>
          <a:bodyPr vert="horz" anchor="t"/>
          <a:lstStyle>
            <a:lvl1pPr algn="l">
              <a:defRPr sz="5000">
                <a:solidFill>
                  <a:schemeClr val="tx1"/>
                </a:solidFill>
              </a:defRPr>
            </a:lvl1pPr>
          </a:lstStyle>
          <a:p>
            <a:r>
              <a:rPr lang="en-US"/>
              <a:t>Click to add presentation title</a:t>
            </a:r>
          </a:p>
        </p:txBody>
      </p:sp>
      <p:sp>
        <p:nvSpPr>
          <p:cNvPr id="11" name="Subtitle 2">
            <a:extLst>
              <a:ext uri="{FF2B5EF4-FFF2-40B4-BE49-F238E27FC236}">
                <a16:creationId xmlns:a16="http://schemas.microsoft.com/office/drawing/2014/main" id="{E3B28E96-F998-4145-AFD3-BC0901E28925}"/>
              </a:ext>
            </a:extLst>
          </p:cNvPr>
          <p:cNvSpPr>
            <a:spLocks noGrp="1"/>
          </p:cNvSpPr>
          <p:nvPr>
            <p:ph type="subTitle" idx="1" hasCustomPrompt="1"/>
          </p:nvPr>
        </p:nvSpPr>
        <p:spPr>
          <a:xfrm>
            <a:off x="457198" y="5368036"/>
            <a:ext cx="5638800" cy="228600"/>
          </a:xfrm>
          <a:prstGeom prst="rect">
            <a:avLst/>
          </a:prstGeom>
        </p:spPr>
        <p:txBody>
          <a:bodyPr/>
          <a:lstStyle>
            <a:lvl1pPr marL="0" indent="0" algn="l">
              <a:buNone/>
              <a:defRPr sz="18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7" name="Text Placeholder 11">
            <a:extLst>
              <a:ext uri="{FF2B5EF4-FFF2-40B4-BE49-F238E27FC236}">
                <a16:creationId xmlns:a16="http://schemas.microsoft.com/office/drawing/2014/main" id="{5BCB3DBE-7952-BD46-A5A1-E42AA39DD513}"/>
              </a:ext>
            </a:extLst>
          </p:cNvPr>
          <p:cNvSpPr>
            <a:spLocks noGrp="1"/>
          </p:cNvSpPr>
          <p:nvPr>
            <p:ph type="body" sz="quarter" idx="11" hasCustomPrompt="1"/>
          </p:nvPr>
        </p:nvSpPr>
        <p:spPr>
          <a:xfrm>
            <a:off x="457198" y="5596636"/>
            <a:ext cx="5638800" cy="224536"/>
          </a:xfrm>
          <a:prstGeom prst="rect">
            <a:avLst/>
          </a:prstGeom>
        </p:spPr>
        <p:txBody>
          <a:bodyPr/>
          <a:lstStyle>
            <a:lvl1pPr marL="0" indent="0">
              <a:lnSpc>
                <a:spcPct val="100000"/>
              </a:lnSpc>
              <a:buNone/>
              <a:defRPr sz="1800" b="0" i="0">
                <a:latin typeface="Elevance Sans" pitchFamily="2" charset="77"/>
              </a:defRPr>
            </a:lvl1pPr>
          </a:lstStyle>
          <a:p>
            <a:pPr lvl="0"/>
            <a:r>
              <a:rPr lang="en-US"/>
              <a:t>Click to add date</a:t>
            </a:r>
          </a:p>
        </p:txBody>
      </p:sp>
      <p:pic>
        <p:nvPicPr>
          <p:cNvPr id="3" name="Graphic 2">
            <a:extLst>
              <a:ext uri="{FF2B5EF4-FFF2-40B4-BE49-F238E27FC236}">
                <a16:creationId xmlns:a16="http://schemas.microsoft.com/office/drawing/2014/main" id="{CA196062-4E15-E6FF-72DA-92BF926F893E}"/>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6061" y="6156161"/>
            <a:ext cx="1786364" cy="463576"/>
          </a:xfrm>
          <a:prstGeom prst="rect">
            <a:avLst/>
          </a:prstGeom>
        </p:spPr>
      </p:pic>
    </p:spTree>
    <p:extLst>
      <p:ext uri="{BB962C8B-B14F-4D97-AF65-F5344CB8AC3E}">
        <p14:creationId xmlns:p14="http://schemas.microsoft.com/office/powerpoint/2010/main" val="4159047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ul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110158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975EBB8B-1207-DF46-B0BB-2ECF56904B51}"/>
              </a:ext>
            </a:extLst>
          </p:cNvPr>
          <p:cNvSpPr>
            <a:spLocks noGrp="1"/>
          </p:cNvSpPr>
          <p:nvPr>
            <p:ph type="pic" sz="quarter" idx="10"/>
          </p:nvPr>
        </p:nvSpPr>
        <p:spPr>
          <a:xfrm>
            <a:off x="0" y="0"/>
            <a:ext cx="12192000" cy="6858000"/>
          </a:xfrm>
          <a:solidFill>
            <a:schemeClr val="bg1">
              <a:lumMod val="95000"/>
            </a:schemeClr>
          </a:solidFill>
        </p:spPr>
        <p:txBody>
          <a:bodyPr/>
          <a:lstStyle>
            <a:lvl1pPr marL="0" indent="0">
              <a:buNone/>
              <a:defRPr sz="1200"/>
            </a:lvl1pPr>
          </a:lstStyle>
          <a:p>
            <a:r>
              <a:rPr lang="en-US"/>
              <a:t>Click icon to add picture</a:t>
            </a:r>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15089" y="2635703"/>
            <a:ext cx="8349499" cy="1548385"/>
          </a:xfrm>
        </p:spPr>
        <p:txBody>
          <a:bodyPr vert="horz" anchor="b" anchorCtr="0"/>
          <a:lstStyle>
            <a:lvl1pPr algn="l">
              <a:defRPr sz="5200">
                <a:solidFill>
                  <a:schemeClr val="bg1"/>
                </a:solidFill>
              </a:defRPr>
            </a:lvl1pPr>
          </a:lstStyle>
          <a:p>
            <a:r>
              <a:rPr lang="en-US"/>
              <a:t>Click to add  </a:t>
            </a:r>
            <a:br>
              <a:rPr lang="en-US"/>
            </a:br>
            <a:r>
              <a:rPr lang="en-US"/>
              <a:t>presentation title</a:t>
            </a:r>
          </a:p>
        </p:txBody>
      </p:sp>
      <p:sp>
        <p:nvSpPr>
          <p:cNvPr id="7" name="Text Placeholder 11">
            <a:extLst>
              <a:ext uri="{FF2B5EF4-FFF2-40B4-BE49-F238E27FC236}">
                <a16:creationId xmlns:a16="http://schemas.microsoft.com/office/drawing/2014/main" id="{888294A5-A4D0-A14B-A725-86332813F126}"/>
              </a:ext>
            </a:extLst>
          </p:cNvPr>
          <p:cNvSpPr>
            <a:spLocks noGrp="1"/>
          </p:cNvSpPr>
          <p:nvPr>
            <p:ph type="body" sz="quarter" idx="11" hasCustomPrompt="1"/>
          </p:nvPr>
        </p:nvSpPr>
        <p:spPr>
          <a:xfrm>
            <a:off x="415089" y="4758997"/>
            <a:ext cx="5638800" cy="224536"/>
          </a:xfrm>
        </p:spPr>
        <p:txBody>
          <a:bodyPr vert="horz" lIns="0" tIns="0" rIns="0" bIns="0" rtlCol="0">
            <a:noAutofit/>
          </a:bodyPr>
          <a:lstStyle>
            <a:lvl1pPr>
              <a:defRPr lang="en-US" sz="1800" b="0" i="0" dirty="0">
                <a:solidFill>
                  <a:schemeClr val="bg1"/>
                </a:solidFill>
                <a:latin typeface="Elevance Sans" pitchFamily="2" charset="77"/>
              </a:defRPr>
            </a:lvl1pPr>
          </a:lstStyle>
          <a:p>
            <a:pPr lvl="0"/>
            <a:r>
              <a:rPr lang="en-US"/>
              <a:t>Click to add date</a:t>
            </a:r>
          </a:p>
        </p:txBody>
      </p:sp>
      <p:sp>
        <p:nvSpPr>
          <p:cNvPr id="9" name="Subtitle 2">
            <a:extLst>
              <a:ext uri="{FF2B5EF4-FFF2-40B4-BE49-F238E27FC236}">
                <a16:creationId xmlns:a16="http://schemas.microsoft.com/office/drawing/2014/main" id="{5483F015-5D8D-2240-9F46-EE2695B6E53C}"/>
              </a:ext>
            </a:extLst>
          </p:cNvPr>
          <p:cNvSpPr>
            <a:spLocks noGrp="1"/>
          </p:cNvSpPr>
          <p:nvPr>
            <p:ph type="subTitle" idx="1" hasCustomPrompt="1"/>
          </p:nvPr>
        </p:nvSpPr>
        <p:spPr>
          <a:xfrm>
            <a:off x="415089" y="4517136"/>
            <a:ext cx="5638800" cy="228600"/>
          </a:xfr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8" name="Text Placeholder 7">
            <a:extLst>
              <a:ext uri="{FF2B5EF4-FFF2-40B4-BE49-F238E27FC236}">
                <a16:creationId xmlns:a16="http://schemas.microsoft.com/office/drawing/2014/main" id="{CB2B735F-56B4-2B65-976E-1B0F30712396}"/>
              </a:ext>
            </a:extLst>
          </p:cNvPr>
          <p:cNvSpPr>
            <a:spLocks noGrp="1"/>
          </p:cNvSpPr>
          <p:nvPr>
            <p:ph type="body" sz="quarter" idx="14"/>
          </p:nvPr>
        </p:nvSpPr>
        <p:spPr>
          <a:xfrm>
            <a:off x="9996061" y="578755"/>
            <a:ext cx="1785077" cy="463366"/>
          </a:xfrm>
          <a:custGeom>
            <a:avLst/>
            <a:gdLst>
              <a:gd name="connsiteX0" fmla="*/ 609398 w 1785077"/>
              <a:gd name="connsiteY0" fmla="*/ 422691 h 463366"/>
              <a:gd name="connsiteX1" fmla="*/ 609398 w 1785077"/>
              <a:gd name="connsiteY1" fmla="*/ 445690 h 463366"/>
              <a:gd name="connsiteX2" fmla="*/ 628578 w 1785077"/>
              <a:gd name="connsiteY2" fmla="*/ 445690 h 463366"/>
              <a:gd name="connsiteX3" fmla="*/ 628578 w 1785077"/>
              <a:gd name="connsiteY3" fmla="*/ 445720 h 463366"/>
              <a:gd name="connsiteX4" fmla="*/ 642372 w 1785077"/>
              <a:gd name="connsiteY4" fmla="*/ 434206 h 463366"/>
              <a:gd name="connsiteX5" fmla="*/ 628578 w 1785077"/>
              <a:gd name="connsiteY5" fmla="*/ 422691 h 463366"/>
              <a:gd name="connsiteX6" fmla="*/ 1511976 w 1785077"/>
              <a:gd name="connsiteY6" fmla="*/ 407797 h 463366"/>
              <a:gd name="connsiteX7" fmla="*/ 1493932 w 1785077"/>
              <a:gd name="connsiteY7" fmla="*/ 427387 h 463366"/>
              <a:gd name="connsiteX8" fmla="*/ 1511976 w 1785077"/>
              <a:gd name="connsiteY8" fmla="*/ 447126 h 463366"/>
              <a:gd name="connsiteX9" fmla="*/ 1530019 w 1785077"/>
              <a:gd name="connsiteY9" fmla="*/ 427387 h 463366"/>
              <a:gd name="connsiteX10" fmla="*/ 1511976 w 1785077"/>
              <a:gd name="connsiteY10" fmla="*/ 407797 h 463366"/>
              <a:gd name="connsiteX11" fmla="*/ 1181094 w 1785077"/>
              <a:gd name="connsiteY11" fmla="*/ 407797 h 463366"/>
              <a:gd name="connsiteX12" fmla="*/ 1163051 w 1785077"/>
              <a:gd name="connsiteY12" fmla="*/ 427387 h 463366"/>
              <a:gd name="connsiteX13" fmla="*/ 1181094 w 1785077"/>
              <a:gd name="connsiteY13" fmla="*/ 447126 h 463366"/>
              <a:gd name="connsiteX14" fmla="*/ 1199137 w 1785077"/>
              <a:gd name="connsiteY14" fmla="*/ 427387 h 463366"/>
              <a:gd name="connsiteX15" fmla="*/ 1181094 w 1785077"/>
              <a:gd name="connsiteY15" fmla="*/ 407797 h 463366"/>
              <a:gd name="connsiteX16" fmla="*/ 1051680 w 1785077"/>
              <a:gd name="connsiteY16" fmla="*/ 407797 h 463366"/>
              <a:gd name="connsiteX17" fmla="*/ 1033637 w 1785077"/>
              <a:gd name="connsiteY17" fmla="*/ 427387 h 463366"/>
              <a:gd name="connsiteX18" fmla="*/ 1051680 w 1785077"/>
              <a:gd name="connsiteY18" fmla="*/ 447126 h 463366"/>
              <a:gd name="connsiteX19" fmla="*/ 1069723 w 1785077"/>
              <a:gd name="connsiteY19" fmla="*/ 427387 h 463366"/>
              <a:gd name="connsiteX20" fmla="*/ 1051680 w 1785077"/>
              <a:gd name="connsiteY20" fmla="*/ 407797 h 463366"/>
              <a:gd name="connsiteX21" fmla="*/ 859459 w 1785077"/>
              <a:gd name="connsiteY21" fmla="*/ 407797 h 463366"/>
              <a:gd name="connsiteX22" fmla="*/ 841416 w 1785077"/>
              <a:gd name="connsiteY22" fmla="*/ 427387 h 463366"/>
              <a:gd name="connsiteX23" fmla="*/ 859459 w 1785077"/>
              <a:gd name="connsiteY23" fmla="*/ 447126 h 463366"/>
              <a:gd name="connsiteX24" fmla="*/ 877502 w 1785077"/>
              <a:gd name="connsiteY24" fmla="*/ 427387 h 463366"/>
              <a:gd name="connsiteX25" fmla="*/ 859459 w 1785077"/>
              <a:gd name="connsiteY25" fmla="*/ 407797 h 463366"/>
              <a:gd name="connsiteX26" fmla="*/ 1432981 w 1785077"/>
              <a:gd name="connsiteY26" fmla="*/ 406242 h 463366"/>
              <a:gd name="connsiteX27" fmla="*/ 1416643 w 1785077"/>
              <a:gd name="connsiteY27" fmla="*/ 420149 h 463366"/>
              <a:gd name="connsiteX28" fmla="*/ 1449169 w 1785077"/>
              <a:gd name="connsiteY28" fmla="*/ 420149 h 463366"/>
              <a:gd name="connsiteX29" fmla="*/ 1432981 w 1785077"/>
              <a:gd name="connsiteY29" fmla="*/ 406242 h 463366"/>
              <a:gd name="connsiteX30" fmla="*/ 705000 w 1785077"/>
              <a:gd name="connsiteY30" fmla="*/ 406242 h 463366"/>
              <a:gd name="connsiteX31" fmla="*/ 688662 w 1785077"/>
              <a:gd name="connsiteY31" fmla="*/ 420149 h 463366"/>
              <a:gd name="connsiteX32" fmla="*/ 721188 w 1785077"/>
              <a:gd name="connsiteY32" fmla="*/ 420149 h 463366"/>
              <a:gd name="connsiteX33" fmla="*/ 705000 w 1785077"/>
              <a:gd name="connsiteY33" fmla="*/ 406242 h 463366"/>
              <a:gd name="connsiteX34" fmla="*/ 986749 w 1785077"/>
              <a:gd name="connsiteY34" fmla="*/ 393441 h 463366"/>
              <a:gd name="connsiteX35" fmla="*/ 1004074 w 1785077"/>
              <a:gd name="connsiteY35" fmla="*/ 393441 h 463366"/>
              <a:gd name="connsiteX36" fmla="*/ 1004074 w 1785077"/>
              <a:gd name="connsiteY36" fmla="*/ 434654 h 463366"/>
              <a:gd name="connsiteX37" fmla="*/ 1004074 w 1785077"/>
              <a:gd name="connsiteY37" fmla="*/ 461482 h 463366"/>
              <a:gd name="connsiteX38" fmla="*/ 986749 w 1785077"/>
              <a:gd name="connsiteY38" fmla="*/ 461482 h 463366"/>
              <a:gd name="connsiteX39" fmla="*/ 904881 w 1785077"/>
              <a:gd name="connsiteY39" fmla="*/ 393441 h 463366"/>
              <a:gd name="connsiteX40" fmla="*/ 923912 w 1785077"/>
              <a:gd name="connsiteY40" fmla="*/ 393441 h 463366"/>
              <a:gd name="connsiteX41" fmla="*/ 941237 w 1785077"/>
              <a:gd name="connsiteY41" fmla="*/ 445989 h 463366"/>
              <a:gd name="connsiteX42" fmla="*/ 958861 w 1785077"/>
              <a:gd name="connsiteY42" fmla="*/ 393441 h 463366"/>
              <a:gd name="connsiteX43" fmla="*/ 976635 w 1785077"/>
              <a:gd name="connsiteY43" fmla="*/ 393441 h 463366"/>
              <a:gd name="connsiteX44" fmla="*/ 952069 w 1785077"/>
              <a:gd name="connsiteY44" fmla="*/ 461482 h 463366"/>
              <a:gd name="connsiteX45" fmla="*/ 929477 w 1785077"/>
              <a:gd name="connsiteY45" fmla="*/ 461482 h 463366"/>
              <a:gd name="connsiteX46" fmla="*/ 1509133 w 1785077"/>
              <a:gd name="connsiteY46" fmla="*/ 391646 h 463366"/>
              <a:gd name="connsiteX47" fmla="*/ 1530019 w 1785077"/>
              <a:gd name="connsiteY47" fmla="*/ 402443 h 463366"/>
              <a:gd name="connsiteX48" fmla="*/ 1530019 w 1785077"/>
              <a:gd name="connsiteY48" fmla="*/ 393471 h 463366"/>
              <a:gd name="connsiteX49" fmla="*/ 1547344 w 1785077"/>
              <a:gd name="connsiteY49" fmla="*/ 393471 h 463366"/>
              <a:gd name="connsiteX50" fmla="*/ 1547344 w 1785077"/>
              <a:gd name="connsiteY50" fmla="*/ 461512 h 463366"/>
              <a:gd name="connsiteX51" fmla="*/ 1530019 w 1785077"/>
              <a:gd name="connsiteY51" fmla="*/ 461512 h 463366"/>
              <a:gd name="connsiteX52" fmla="*/ 1530019 w 1785077"/>
              <a:gd name="connsiteY52" fmla="*/ 451851 h 463366"/>
              <a:gd name="connsiteX53" fmla="*/ 1509133 w 1785077"/>
              <a:gd name="connsiteY53" fmla="*/ 463366 h 463366"/>
              <a:gd name="connsiteX54" fmla="*/ 1476607 w 1785077"/>
              <a:gd name="connsiteY54" fmla="*/ 427446 h 463366"/>
              <a:gd name="connsiteX55" fmla="*/ 1509133 w 1785077"/>
              <a:gd name="connsiteY55" fmla="*/ 391646 h 463366"/>
              <a:gd name="connsiteX56" fmla="*/ 1432681 w 1785077"/>
              <a:gd name="connsiteY56" fmla="*/ 391646 h 463366"/>
              <a:gd name="connsiteX57" fmla="*/ 1467062 w 1785077"/>
              <a:gd name="connsiteY57" fmla="*/ 426160 h 463366"/>
              <a:gd name="connsiteX58" fmla="*/ 1466673 w 1785077"/>
              <a:gd name="connsiteY58" fmla="*/ 432232 h 463366"/>
              <a:gd name="connsiteX59" fmla="*/ 1416224 w 1785077"/>
              <a:gd name="connsiteY59" fmla="*/ 432232 h 463366"/>
              <a:gd name="connsiteX60" fmla="*/ 1435554 w 1785077"/>
              <a:gd name="connsiteY60" fmla="*/ 448143 h 463366"/>
              <a:gd name="connsiteX61" fmla="*/ 1452310 w 1785077"/>
              <a:gd name="connsiteY61" fmla="*/ 441055 h 463366"/>
              <a:gd name="connsiteX62" fmla="*/ 1461257 w 1785077"/>
              <a:gd name="connsiteY62" fmla="*/ 452988 h 463366"/>
              <a:gd name="connsiteX63" fmla="*/ 1434955 w 1785077"/>
              <a:gd name="connsiteY63" fmla="*/ 463366 h 463366"/>
              <a:gd name="connsiteX64" fmla="*/ 1398450 w 1785077"/>
              <a:gd name="connsiteY64" fmla="*/ 427446 h 463366"/>
              <a:gd name="connsiteX65" fmla="*/ 1432681 w 1785077"/>
              <a:gd name="connsiteY65" fmla="*/ 391646 h 463366"/>
              <a:gd name="connsiteX66" fmla="*/ 1178252 w 1785077"/>
              <a:gd name="connsiteY66" fmla="*/ 391646 h 463366"/>
              <a:gd name="connsiteX67" fmla="*/ 1199137 w 1785077"/>
              <a:gd name="connsiteY67" fmla="*/ 402443 h 463366"/>
              <a:gd name="connsiteX68" fmla="*/ 1199137 w 1785077"/>
              <a:gd name="connsiteY68" fmla="*/ 393471 h 463366"/>
              <a:gd name="connsiteX69" fmla="*/ 1216463 w 1785077"/>
              <a:gd name="connsiteY69" fmla="*/ 393471 h 463366"/>
              <a:gd name="connsiteX70" fmla="*/ 1216463 w 1785077"/>
              <a:gd name="connsiteY70" fmla="*/ 461512 h 463366"/>
              <a:gd name="connsiteX71" fmla="*/ 1199137 w 1785077"/>
              <a:gd name="connsiteY71" fmla="*/ 461512 h 463366"/>
              <a:gd name="connsiteX72" fmla="*/ 1199137 w 1785077"/>
              <a:gd name="connsiteY72" fmla="*/ 451851 h 463366"/>
              <a:gd name="connsiteX73" fmla="*/ 1178252 w 1785077"/>
              <a:gd name="connsiteY73" fmla="*/ 463366 h 463366"/>
              <a:gd name="connsiteX74" fmla="*/ 1145726 w 1785077"/>
              <a:gd name="connsiteY74" fmla="*/ 427446 h 463366"/>
              <a:gd name="connsiteX75" fmla="*/ 1178252 w 1785077"/>
              <a:gd name="connsiteY75" fmla="*/ 391646 h 463366"/>
              <a:gd name="connsiteX76" fmla="*/ 856616 w 1785077"/>
              <a:gd name="connsiteY76" fmla="*/ 391646 h 463366"/>
              <a:gd name="connsiteX77" fmla="*/ 877502 w 1785077"/>
              <a:gd name="connsiteY77" fmla="*/ 402443 h 463366"/>
              <a:gd name="connsiteX78" fmla="*/ 877502 w 1785077"/>
              <a:gd name="connsiteY78" fmla="*/ 393471 h 463366"/>
              <a:gd name="connsiteX79" fmla="*/ 894827 w 1785077"/>
              <a:gd name="connsiteY79" fmla="*/ 393471 h 463366"/>
              <a:gd name="connsiteX80" fmla="*/ 894827 w 1785077"/>
              <a:gd name="connsiteY80" fmla="*/ 461512 h 463366"/>
              <a:gd name="connsiteX81" fmla="*/ 877502 w 1785077"/>
              <a:gd name="connsiteY81" fmla="*/ 461512 h 463366"/>
              <a:gd name="connsiteX82" fmla="*/ 877502 w 1785077"/>
              <a:gd name="connsiteY82" fmla="*/ 451851 h 463366"/>
              <a:gd name="connsiteX83" fmla="*/ 856616 w 1785077"/>
              <a:gd name="connsiteY83" fmla="*/ 463366 h 463366"/>
              <a:gd name="connsiteX84" fmla="*/ 824091 w 1785077"/>
              <a:gd name="connsiteY84" fmla="*/ 427446 h 463366"/>
              <a:gd name="connsiteX85" fmla="*/ 856616 w 1785077"/>
              <a:gd name="connsiteY85" fmla="*/ 391646 h 463366"/>
              <a:gd name="connsiteX86" fmla="*/ 704701 w 1785077"/>
              <a:gd name="connsiteY86" fmla="*/ 391646 h 463366"/>
              <a:gd name="connsiteX87" fmla="*/ 739081 w 1785077"/>
              <a:gd name="connsiteY87" fmla="*/ 426160 h 463366"/>
              <a:gd name="connsiteX88" fmla="*/ 738692 w 1785077"/>
              <a:gd name="connsiteY88" fmla="*/ 432232 h 463366"/>
              <a:gd name="connsiteX89" fmla="*/ 688243 w 1785077"/>
              <a:gd name="connsiteY89" fmla="*/ 432232 h 463366"/>
              <a:gd name="connsiteX90" fmla="*/ 707573 w 1785077"/>
              <a:gd name="connsiteY90" fmla="*/ 448143 h 463366"/>
              <a:gd name="connsiteX91" fmla="*/ 724330 w 1785077"/>
              <a:gd name="connsiteY91" fmla="*/ 441055 h 463366"/>
              <a:gd name="connsiteX92" fmla="*/ 733276 w 1785077"/>
              <a:gd name="connsiteY92" fmla="*/ 452988 h 463366"/>
              <a:gd name="connsiteX93" fmla="*/ 706975 w 1785077"/>
              <a:gd name="connsiteY93" fmla="*/ 463366 h 463366"/>
              <a:gd name="connsiteX94" fmla="*/ 670469 w 1785077"/>
              <a:gd name="connsiteY94" fmla="*/ 427446 h 463366"/>
              <a:gd name="connsiteX95" fmla="*/ 704701 w 1785077"/>
              <a:gd name="connsiteY95" fmla="*/ 391646 h 463366"/>
              <a:gd name="connsiteX96" fmla="*/ 1051680 w 1785077"/>
              <a:gd name="connsiteY96" fmla="*/ 391616 h 463366"/>
              <a:gd name="connsiteX97" fmla="*/ 1087048 w 1785077"/>
              <a:gd name="connsiteY97" fmla="*/ 427417 h 463366"/>
              <a:gd name="connsiteX98" fmla="*/ 1051680 w 1785077"/>
              <a:gd name="connsiteY98" fmla="*/ 463336 h 463366"/>
              <a:gd name="connsiteX99" fmla="*/ 1016312 w 1785077"/>
              <a:gd name="connsiteY99" fmla="*/ 427417 h 463366"/>
              <a:gd name="connsiteX100" fmla="*/ 1051680 w 1785077"/>
              <a:gd name="connsiteY100" fmla="*/ 391616 h 463366"/>
              <a:gd name="connsiteX101" fmla="*/ 1133219 w 1785077"/>
              <a:gd name="connsiteY101" fmla="*/ 391587 h 463366"/>
              <a:gd name="connsiteX102" fmla="*/ 1144020 w 1785077"/>
              <a:gd name="connsiteY102" fmla="*/ 394876 h 463366"/>
              <a:gd name="connsiteX103" fmla="*/ 1136929 w 1785077"/>
              <a:gd name="connsiteY103" fmla="*/ 411206 h 463366"/>
              <a:gd name="connsiteX104" fmla="*/ 1127833 w 1785077"/>
              <a:gd name="connsiteY104" fmla="*/ 408365 h 463366"/>
              <a:gd name="connsiteX105" fmla="*/ 1116462 w 1785077"/>
              <a:gd name="connsiteY105" fmla="*/ 423409 h 463366"/>
              <a:gd name="connsiteX106" fmla="*/ 1116462 w 1785077"/>
              <a:gd name="connsiteY106" fmla="*/ 461482 h 463366"/>
              <a:gd name="connsiteX107" fmla="*/ 1099137 w 1785077"/>
              <a:gd name="connsiteY107" fmla="*/ 461482 h 463366"/>
              <a:gd name="connsiteX108" fmla="*/ 1099137 w 1785077"/>
              <a:gd name="connsiteY108" fmla="*/ 393441 h 463366"/>
              <a:gd name="connsiteX109" fmla="*/ 1116462 w 1785077"/>
              <a:gd name="connsiteY109" fmla="*/ 393441 h 463366"/>
              <a:gd name="connsiteX110" fmla="*/ 1116462 w 1785077"/>
              <a:gd name="connsiteY110" fmla="*/ 403520 h 463366"/>
              <a:gd name="connsiteX111" fmla="*/ 1133219 w 1785077"/>
              <a:gd name="connsiteY111" fmla="*/ 391587 h 463366"/>
              <a:gd name="connsiteX112" fmla="*/ 609398 w 1785077"/>
              <a:gd name="connsiteY112" fmla="*/ 386173 h 463366"/>
              <a:gd name="connsiteX113" fmla="*/ 609398 w 1785077"/>
              <a:gd name="connsiteY113" fmla="*/ 386203 h 463366"/>
              <a:gd name="connsiteX114" fmla="*/ 609398 w 1785077"/>
              <a:gd name="connsiteY114" fmla="*/ 408066 h 463366"/>
              <a:gd name="connsiteX115" fmla="*/ 626603 w 1785077"/>
              <a:gd name="connsiteY115" fmla="*/ 408066 h 463366"/>
              <a:gd name="connsiteX116" fmla="*/ 639829 w 1785077"/>
              <a:gd name="connsiteY116" fmla="*/ 397120 h 463366"/>
              <a:gd name="connsiteX117" fmla="*/ 626603 w 1785077"/>
              <a:gd name="connsiteY117" fmla="*/ 386173 h 463366"/>
              <a:gd name="connsiteX118" fmla="*/ 1608595 w 1785077"/>
              <a:gd name="connsiteY118" fmla="*/ 375855 h 463366"/>
              <a:gd name="connsiteX119" fmla="*/ 1626069 w 1785077"/>
              <a:gd name="connsiteY119" fmla="*/ 375855 h 463366"/>
              <a:gd name="connsiteX120" fmla="*/ 1626069 w 1785077"/>
              <a:gd name="connsiteY120" fmla="*/ 393471 h 463366"/>
              <a:gd name="connsiteX121" fmla="*/ 1644412 w 1785077"/>
              <a:gd name="connsiteY121" fmla="*/ 393471 h 463366"/>
              <a:gd name="connsiteX122" fmla="*/ 1644412 w 1785077"/>
              <a:gd name="connsiteY122" fmla="*/ 408814 h 463366"/>
              <a:gd name="connsiteX123" fmla="*/ 1626219 w 1785077"/>
              <a:gd name="connsiteY123" fmla="*/ 408814 h 463366"/>
              <a:gd name="connsiteX124" fmla="*/ 1626219 w 1785077"/>
              <a:gd name="connsiteY124" fmla="*/ 437795 h 463366"/>
              <a:gd name="connsiteX125" fmla="*/ 1633879 w 1785077"/>
              <a:gd name="connsiteY125" fmla="*/ 447156 h 463366"/>
              <a:gd name="connsiteX126" fmla="*/ 1641988 w 1785077"/>
              <a:gd name="connsiteY126" fmla="*/ 443746 h 463366"/>
              <a:gd name="connsiteX127" fmla="*/ 1649648 w 1785077"/>
              <a:gd name="connsiteY127" fmla="*/ 456667 h 463366"/>
              <a:gd name="connsiteX128" fmla="*/ 1631186 w 1785077"/>
              <a:gd name="connsiteY128" fmla="*/ 463336 h 463366"/>
              <a:gd name="connsiteX129" fmla="*/ 1608595 w 1785077"/>
              <a:gd name="connsiteY129" fmla="*/ 438213 h 463366"/>
              <a:gd name="connsiteX130" fmla="*/ 1608595 w 1785077"/>
              <a:gd name="connsiteY130" fmla="*/ 408814 h 463366"/>
              <a:gd name="connsiteX131" fmla="*/ 1596656 w 1785077"/>
              <a:gd name="connsiteY131" fmla="*/ 408814 h 463366"/>
              <a:gd name="connsiteX132" fmla="*/ 1596656 w 1785077"/>
              <a:gd name="connsiteY132" fmla="*/ 393471 h 463366"/>
              <a:gd name="connsiteX133" fmla="*/ 1608595 w 1785077"/>
              <a:gd name="connsiteY133" fmla="*/ 393471 h 463366"/>
              <a:gd name="connsiteX134" fmla="*/ 591654 w 1785077"/>
              <a:gd name="connsiteY134" fmla="*/ 370591 h 463366"/>
              <a:gd name="connsiteX135" fmla="*/ 591804 w 1785077"/>
              <a:gd name="connsiteY135" fmla="*/ 370591 h 463366"/>
              <a:gd name="connsiteX136" fmla="*/ 609428 w 1785077"/>
              <a:gd name="connsiteY136" fmla="*/ 370591 h 463366"/>
              <a:gd name="connsiteX137" fmla="*/ 628339 w 1785077"/>
              <a:gd name="connsiteY137" fmla="*/ 370591 h 463366"/>
              <a:gd name="connsiteX138" fmla="*/ 658321 w 1785077"/>
              <a:gd name="connsiteY138" fmla="*/ 395714 h 463366"/>
              <a:gd name="connsiteX139" fmla="*/ 644826 w 1785077"/>
              <a:gd name="connsiteY139" fmla="*/ 414735 h 463366"/>
              <a:gd name="connsiteX140" fmla="*/ 660834 w 1785077"/>
              <a:gd name="connsiteY140" fmla="*/ 435910 h 463366"/>
              <a:gd name="connsiteX141" fmla="*/ 630433 w 1785077"/>
              <a:gd name="connsiteY141" fmla="*/ 461482 h 463366"/>
              <a:gd name="connsiteX142" fmla="*/ 591654 w 1785077"/>
              <a:gd name="connsiteY142" fmla="*/ 461482 h 463366"/>
              <a:gd name="connsiteX143" fmla="*/ 1306678 w 1785077"/>
              <a:gd name="connsiteY143" fmla="*/ 370442 h 463366"/>
              <a:gd name="connsiteX144" fmla="*/ 1324452 w 1785077"/>
              <a:gd name="connsiteY144" fmla="*/ 370442 h 463366"/>
              <a:gd name="connsiteX145" fmla="*/ 1324452 w 1785077"/>
              <a:gd name="connsiteY145" fmla="*/ 406660 h 463366"/>
              <a:gd name="connsiteX146" fmla="*/ 1367929 w 1785077"/>
              <a:gd name="connsiteY146" fmla="*/ 406660 h 463366"/>
              <a:gd name="connsiteX147" fmla="*/ 1367929 w 1785077"/>
              <a:gd name="connsiteY147" fmla="*/ 370442 h 463366"/>
              <a:gd name="connsiteX148" fmla="*/ 1385703 w 1785077"/>
              <a:gd name="connsiteY148" fmla="*/ 370442 h 463366"/>
              <a:gd name="connsiteX149" fmla="*/ 1385703 w 1785077"/>
              <a:gd name="connsiteY149" fmla="*/ 461482 h 463366"/>
              <a:gd name="connsiteX150" fmla="*/ 1367929 w 1785077"/>
              <a:gd name="connsiteY150" fmla="*/ 461482 h 463366"/>
              <a:gd name="connsiteX151" fmla="*/ 1367929 w 1785077"/>
              <a:gd name="connsiteY151" fmla="*/ 423289 h 463366"/>
              <a:gd name="connsiteX152" fmla="*/ 1324452 w 1785077"/>
              <a:gd name="connsiteY152" fmla="*/ 423289 h 463366"/>
              <a:gd name="connsiteX153" fmla="*/ 1324452 w 1785077"/>
              <a:gd name="connsiteY153" fmla="*/ 461482 h 463366"/>
              <a:gd name="connsiteX154" fmla="*/ 1306678 w 1785077"/>
              <a:gd name="connsiteY154" fmla="*/ 461482 h 463366"/>
              <a:gd name="connsiteX155" fmla="*/ 995426 w 1785077"/>
              <a:gd name="connsiteY155" fmla="*/ 364071 h 463366"/>
              <a:gd name="connsiteX156" fmla="*/ 1005660 w 1785077"/>
              <a:gd name="connsiteY156" fmla="*/ 374150 h 463366"/>
              <a:gd name="connsiteX157" fmla="*/ 995426 w 1785077"/>
              <a:gd name="connsiteY157" fmla="*/ 384379 h 463366"/>
              <a:gd name="connsiteX158" fmla="*/ 985342 w 1785077"/>
              <a:gd name="connsiteY158" fmla="*/ 374150 h 463366"/>
              <a:gd name="connsiteX159" fmla="*/ 995426 w 1785077"/>
              <a:gd name="connsiteY159" fmla="*/ 364071 h 463366"/>
              <a:gd name="connsiteX160" fmla="*/ 1563831 w 1785077"/>
              <a:gd name="connsiteY160" fmla="*/ 363802 h 463366"/>
              <a:gd name="connsiteX161" fmla="*/ 1581156 w 1785077"/>
              <a:gd name="connsiteY161" fmla="*/ 363802 h 463366"/>
              <a:gd name="connsiteX162" fmla="*/ 1581156 w 1785077"/>
              <a:gd name="connsiteY162" fmla="*/ 439918 h 463366"/>
              <a:gd name="connsiteX163" fmla="*/ 1587260 w 1785077"/>
              <a:gd name="connsiteY163" fmla="*/ 447156 h 463366"/>
              <a:gd name="connsiteX164" fmla="*/ 1590103 w 1785077"/>
              <a:gd name="connsiteY164" fmla="*/ 446438 h 463366"/>
              <a:gd name="connsiteX165" fmla="*/ 1591958 w 1785077"/>
              <a:gd name="connsiteY165" fmla="*/ 461631 h 463366"/>
              <a:gd name="connsiteX166" fmla="*/ 1583580 w 1785077"/>
              <a:gd name="connsiteY166" fmla="*/ 463067 h 463366"/>
              <a:gd name="connsiteX167" fmla="*/ 1563831 w 1785077"/>
              <a:gd name="connsiteY167" fmla="*/ 439499 h 463366"/>
              <a:gd name="connsiteX168" fmla="*/ 1232950 w 1785077"/>
              <a:gd name="connsiteY168" fmla="*/ 363802 h 463366"/>
              <a:gd name="connsiteX169" fmla="*/ 1250275 w 1785077"/>
              <a:gd name="connsiteY169" fmla="*/ 363802 h 463366"/>
              <a:gd name="connsiteX170" fmla="*/ 1250275 w 1785077"/>
              <a:gd name="connsiteY170" fmla="*/ 439918 h 463366"/>
              <a:gd name="connsiteX171" fmla="*/ 1256379 w 1785077"/>
              <a:gd name="connsiteY171" fmla="*/ 447156 h 463366"/>
              <a:gd name="connsiteX172" fmla="*/ 1259222 w 1785077"/>
              <a:gd name="connsiteY172" fmla="*/ 446438 h 463366"/>
              <a:gd name="connsiteX173" fmla="*/ 1261077 w 1785077"/>
              <a:gd name="connsiteY173" fmla="*/ 461631 h 463366"/>
              <a:gd name="connsiteX174" fmla="*/ 1252698 w 1785077"/>
              <a:gd name="connsiteY174" fmla="*/ 463067 h 463366"/>
              <a:gd name="connsiteX175" fmla="*/ 1232950 w 1785077"/>
              <a:gd name="connsiteY175" fmla="*/ 439499 h 463366"/>
              <a:gd name="connsiteX176" fmla="*/ 1661168 w 1785077"/>
              <a:gd name="connsiteY176" fmla="*/ 363772 h 463366"/>
              <a:gd name="connsiteX177" fmla="*/ 1678494 w 1785077"/>
              <a:gd name="connsiteY177" fmla="*/ 363772 h 463366"/>
              <a:gd name="connsiteX178" fmla="*/ 1678494 w 1785077"/>
              <a:gd name="connsiteY178" fmla="*/ 403101 h 463366"/>
              <a:gd name="connsiteX179" fmla="*/ 1697823 w 1785077"/>
              <a:gd name="connsiteY179" fmla="*/ 391587 h 463366"/>
              <a:gd name="connsiteX180" fmla="*/ 1723527 w 1785077"/>
              <a:gd name="connsiteY180" fmla="*/ 420298 h 463366"/>
              <a:gd name="connsiteX181" fmla="*/ 1723527 w 1785077"/>
              <a:gd name="connsiteY181" fmla="*/ 461482 h 463366"/>
              <a:gd name="connsiteX182" fmla="*/ 1706202 w 1785077"/>
              <a:gd name="connsiteY182" fmla="*/ 461482 h 463366"/>
              <a:gd name="connsiteX183" fmla="*/ 1706202 w 1785077"/>
              <a:gd name="connsiteY183" fmla="*/ 422841 h 463366"/>
              <a:gd name="connsiteX184" fmla="*/ 1692407 w 1785077"/>
              <a:gd name="connsiteY184" fmla="*/ 407797 h 463366"/>
              <a:gd name="connsiteX185" fmla="*/ 1678494 w 1785077"/>
              <a:gd name="connsiteY185" fmla="*/ 422841 h 463366"/>
              <a:gd name="connsiteX186" fmla="*/ 1678494 w 1785077"/>
              <a:gd name="connsiteY186" fmla="*/ 461482 h 463366"/>
              <a:gd name="connsiteX187" fmla="*/ 1661168 w 1785077"/>
              <a:gd name="connsiteY187" fmla="*/ 461482 h 463366"/>
              <a:gd name="connsiteX188" fmla="*/ 750213 w 1785077"/>
              <a:gd name="connsiteY188" fmla="*/ 363772 h 463366"/>
              <a:gd name="connsiteX189" fmla="*/ 767538 w 1785077"/>
              <a:gd name="connsiteY189" fmla="*/ 363772 h 463366"/>
              <a:gd name="connsiteX190" fmla="*/ 767538 w 1785077"/>
              <a:gd name="connsiteY190" fmla="*/ 403101 h 463366"/>
              <a:gd name="connsiteX191" fmla="*/ 786867 w 1785077"/>
              <a:gd name="connsiteY191" fmla="*/ 391587 h 463366"/>
              <a:gd name="connsiteX192" fmla="*/ 812571 w 1785077"/>
              <a:gd name="connsiteY192" fmla="*/ 420298 h 463366"/>
              <a:gd name="connsiteX193" fmla="*/ 812571 w 1785077"/>
              <a:gd name="connsiteY193" fmla="*/ 461482 h 463366"/>
              <a:gd name="connsiteX194" fmla="*/ 795246 w 1785077"/>
              <a:gd name="connsiteY194" fmla="*/ 461482 h 463366"/>
              <a:gd name="connsiteX195" fmla="*/ 795246 w 1785077"/>
              <a:gd name="connsiteY195" fmla="*/ 422841 h 463366"/>
              <a:gd name="connsiteX196" fmla="*/ 781451 w 1785077"/>
              <a:gd name="connsiteY196" fmla="*/ 407797 h 463366"/>
              <a:gd name="connsiteX197" fmla="*/ 767538 w 1785077"/>
              <a:gd name="connsiteY197" fmla="*/ 422841 h 463366"/>
              <a:gd name="connsiteX198" fmla="*/ 767538 w 1785077"/>
              <a:gd name="connsiteY198" fmla="*/ 461482 h 463366"/>
              <a:gd name="connsiteX199" fmla="*/ 750213 w 1785077"/>
              <a:gd name="connsiteY199" fmla="*/ 461482 h 463366"/>
              <a:gd name="connsiteX200" fmla="*/ 1760720 w 1785077"/>
              <a:gd name="connsiteY200" fmla="*/ 269382 h 463366"/>
              <a:gd name="connsiteX201" fmla="*/ 1764580 w 1785077"/>
              <a:gd name="connsiteY201" fmla="*/ 269382 h 463366"/>
              <a:gd name="connsiteX202" fmla="*/ 1773138 w 1785077"/>
              <a:gd name="connsiteY202" fmla="*/ 282960 h 463366"/>
              <a:gd name="connsiteX203" fmla="*/ 1781666 w 1785077"/>
              <a:gd name="connsiteY203" fmla="*/ 269382 h 463366"/>
              <a:gd name="connsiteX204" fmla="*/ 1785077 w 1785077"/>
              <a:gd name="connsiteY204" fmla="*/ 269382 h 463366"/>
              <a:gd name="connsiteX205" fmla="*/ 1785077 w 1785077"/>
              <a:gd name="connsiteY205" fmla="*/ 293099 h 463366"/>
              <a:gd name="connsiteX206" fmla="*/ 1781756 w 1785077"/>
              <a:gd name="connsiteY206" fmla="*/ 293099 h 463366"/>
              <a:gd name="connsiteX207" fmla="*/ 1781756 w 1785077"/>
              <a:gd name="connsiteY207" fmla="*/ 274705 h 463366"/>
              <a:gd name="connsiteX208" fmla="*/ 1772929 w 1785077"/>
              <a:gd name="connsiteY208" fmla="*/ 288433 h 463366"/>
              <a:gd name="connsiteX209" fmla="*/ 1764042 w 1785077"/>
              <a:gd name="connsiteY209" fmla="*/ 274705 h 463366"/>
              <a:gd name="connsiteX210" fmla="*/ 1764042 w 1785077"/>
              <a:gd name="connsiteY210" fmla="*/ 293099 h 463366"/>
              <a:gd name="connsiteX211" fmla="*/ 1760720 w 1785077"/>
              <a:gd name="connsiteY211" fmla="*/ 293099 h 463366"/>
              <a:gd name="connsiteX212" fmla="*/ 1748452 w 1785077"/>
              <a:gd name="connsiteY212" fmla="*/ 268963 h 463366"/>
              <a:gd name="connsiteX213" fmla="*/ 1756591 w 1785077"/>
              <a:gd name="connsiteY213" fmla="*/ 272642 h 463366"/>
              <a:gd name="connsiteX214" fmla="*/ 1754287 w 1785077"/>
              <a:gd name="connsiteY214" fmla="*/ 274885 h 463366"/>
              <a:gd name="connsiteX215" fmla="*/ 1748392 w 1785077"/>
              <a:gd name="connsiteY215" fmla="*/ 272073 h 463366"/>
              <a:gd name="connsiteX216" fmla="*/ 1743754 w 1785077"/>
              <a:gd name="connsiteY216" fmla="*/ 275274 h 463366"/>
              <a:gd name="connsiteX217" fmla="*/ 1757010 w 1785077"/>
              <a:gd name="connsiteY217" fmla="*/ 286549 h 463366"/>
              <a:gd name="connsiteX218" fmla="*/ 1748303 w 1785077"/>
              <a:gd name="connsiteY218" fmla="*/ 293547 h 463366"/>
              <a:gd name="connsiteX219" fmla="*/ 1739326 w 1785077"/>
              <a:gd name="connsiteY219" fmla="*/ 289510 h 463366"/>
              <a:gd name="connsiteX220" fmla="*/ 1741720 w 1785077"/>
              <a:gd name="connsiteY220" fmla="*/ 287267 h 463366"/>
              <a:gd name="connsiteX221" fmla="*/ 1748303 w 1785077"/>
              <a:gd name="connsiteY221" fmla="*/ 290407 h 463366"/>
              <a:gd name="connsiteX222" fmla="*/ 1753419 w 1785077"/>
              <a:gd name="connsiteY222" fmla="*/ 286788 h 463366"/>
              <a:gd name="connsiteX223" fmla="*/ 1740164 w 1785077"/>
              <a:gd name="connsiteY223" fmla="*/ 275393 h 463366"/>
              <a:gd name="connsiteX224" fmla="*/ 1748452 w 1785077"/>
              <a:gd name="connsiteY224" fmla="*/ 268963 h 463366"/>
              <a:gd name="connsiteX225" fmla="*/ 1411587 w 1785077"/>
              <a:gd name="connsiteY225" fmla="*/ 134646 h 463366"/>
              <a:gd name="connsiteX226" fmla="*/ 1357906 w 1785077"/>
              <a:gd name="connsiteY226" fmla="*/ 192488 h 463366"/>
              <a:gd name="connsiteX227" fmla="*/ 1411587 w 1785077"/>
              <a:gd name="connsiteY227" fmla="*/ 250749 h 463366"/>
              <a:gd name="connsiteX228" fmla="*/ 1464429 w 1785077"/>
              <a:gd name="connsiteY228" fmla="*/ 192488 h 463366"/>
              <a:gd name="connsiteX229" fmla="*/ 1411587 w 1785077"/>
              <a:gd name="connsiteY229" fmla="*/ 134646 h 463366"/>
              <a:gd name="connsiteX230" fmla="*/ 742014 w 1785077"/>
              <a:gd name="connsiteY230" fmla="*/ 134646 h 463366"/>
              <a:gd name="connsiteX231" fmla="*/ 688334 w 1785077"/>
              <a:gd name="connsiteY231" fmla="*/ 192488 h 463366"/>
              <a:gd name="connsiteX232" fmla="*/ 742014 w 1785077"/>
              <a:gd name="connsiteY232" fmla="*/ 250749 h 463366"/>
              <a:gd name="connsiteX233" fmla="*/ 794857 w 1785077"/>
              <a:gd name="connsiteY233" fmla="*/ 192488 h 463366"/>
              <a:gd name="connsiteX234" fmla="*/ 742014 w 1785077"/>
              <a:gd name="connsiteY234" fmla="*/ 134646 h 463366"/>
              <a:gd name="connsiteX235" fmla="*/ 1110987 w 1785077"/>
              <a:gd name="connsiteY235" fmla="*/ 130070 h 463366"/>
              <a:gd name="connsiteX236" fmla="*/ 1061914 w 1785077"/>
              <a:gd name="connsiteY236" fmla="*/ 173227 h 463366"/>
              <a:gd name="connsiteX237" fmla="*/ 1158773 w 1785077"/>
              <a:gd name="connsiteY237" fmla="*/ 173227 h 463366"/>
              <a:gd name="connsiteX238" fmla="*/ 1110987 w 1785077"/>
              <a:gd name="connsiteY238" fmla="*/ 130070 h 463366"/>
              <a:gd name="connsiteX239" fmla="*/ 733636 w 1785077"/>
              <a:gd name="connsiteY239" fmla="*/ 86494 h 463366"/>
              <a:gd name="connsiteX240" fmla="*/ 794857 w 1785077"/>
              <a:gd name="connsiteY240" fmla="*/ 112484 h 463366"/>
              <a:gd name="connsiteX241" fmla="*/ 794857 w 1785077"/>
              <a:gd name="connsiteY241" fmla="*/ 92356 h 463366"/>
              <a:gd name="connsiteX242" fmla="*/ 846443 w 1785077"/>
              <a:gd name="connsiteY242" fmla="*/ 92356 h 463366"/>
              <a:gd name="connsiteX243" fmla="*/ 846443 w 1785077"/>
              <a:gd name="connsiteY243" fmla="*/ 293099 h 463366"/>
              <a:gd name="connsiteX244" fmla="*/ 794857 w 1785077"/>
              <a:gd name="connsiteY244" fmla="*/ 293099 h 463366"/>
              <a:gd name="connsiteX245" fmla="*/ 794857 w 1785077"/>
              <a:gd name="connsiteY245" fmla="*/ 271296 h 463366"/>
              <a:gd name="connsiteX246" fmla="*/ 733636 w 1785077"/>
              <a:gd name="connsiteY246" fmla="*/ 298961 h 463366"/>
              <a:gd name="connsiteX247" fmla="*/ 637196 w 1785077"/>
              <a:gd name="connsiteY247" fmla="*/ 192937 h 463366"/>
              <a:gd name="connsiteX248" fmla="*/ 733636 w 1785077"/>
              <a:gd name="connsiteY248" fmla="*/ 86494 h 463366"/>
              <a:gd name="connsiteX249" fmla="*/ 555628 w 1785077"/>
              <a:gd name="connsiteY249" fmla="*/ 86494 h 463366"/>
              <a:gd name="connsiteX250" fmla="*/ 634862 w 1785077"/>
              <a:gd name="connsiteY250" fmla="*/ 116671 h 463366"/>
              <a:gd name="connsiteX251" fmla="*/ 605509 w 1785077"/>
              <a:gd name="connsiteY251" fmla="*/ 153129 h 463366"/>
              <a:gd name="connsiteX252" fmla="*/ 558141 w 1785077"/>
              <a:gd name="connsiteY252" fmla="*/ 134676 h 463366"/>
              <a:gd name="connsiteX253" fmla="*/ 501947 w 1785077"/>
              <a:gd name="connsiteY253" fmla="*/ 192518 h 463366"/>
              <a:gd name="connsiteX254" fmla="*/ 557723 w 1785077"/>
              <a:gd name="connsiteY254" fmla="*/ 250779 h 463366"/>
              <a:gd name="connsiteX255" fmla="*/ 607184 w 1785077"/>
              <a:gd name="connsiteY255" fmla="*/ 231070 h 463366"/>
              <a:gd name="connsiteX256" fmla="*/ 633187 w 1785077"/>
              <a:gd name="connsiteY256" fmla="*/ 268784 h 463366"/>
              <a:gd name="connsiteX257" fmla="*/ 556466 w 1785077"/>
              <a:gd name="connsiteY257" fmla="*/ 298961 h 463366"/>
              <a:gd name="connsiteX258" fmla="*/ 450810 w 1785077"/>
              <a:gd name="connsiteY258" fmla="*/ 192937 h 463366"/>
              <a:gd name="connsiteX259" fmla="*/ 555628 w 1785077"/>
              <a:gd name="connsiteY259" fmla="*/ 86494 h 463366"/>
              <a:gd name="connsiteX260" fmla="*/ 1647225 w 1785077"/>
              <a:gd name="connsiteY260" fmla="*/ 86464 h 463366"/>
              <a:gd name="connsiteX261" fmla="*/ 1723527 w 1785077"/>
              <a:gd name="connsiteY261" fmla="*/ 171553 h 463366"/>
              <a:gd name="connsiteX262" fmla="*/ 1723527 w 1785077"/>
              <a:gd name="connsiteY262" fmla="*/ 293099 h 463366"/>
              <a:gd name="connsiteX263" fmla="*/ 1672360 w 1785077"/>
              <a:gd name="connsiteY263" fmla="*/ 293099 h 463366"/>
              <a:gd name="connsiteX264" fmla="*/ 1672360 w 1785077"/>
              <a:gd name="connsiteY264" fmla="*/ 179089 h 463366"/>
              <a:gd name="connsiteX265" fmla="*/ 1631695 w 1785077"/>
              <a:gd name="connsiteY265" fmla="*/ 134676 h 463366"/>
              <a:gd name="connsiteX266" fmla="*/ 1590612 w 1785077"/>
              <a:gd name="connsiteY266" fmla="*/ 179089 h 463366"/>
              <a:gd name="connsiteX267" fmla="*/ 1590612 w 1785077"/>
              <a:gd name="connsiteY267" fmla="*/ 293069 h 463366"/>
              <a:gd name="connsiteX268" fmla="*/ 1539445 w 1785077"/>
              <a:gd name="connsiteY268" fmla="*/ 293069 h 463366"/>
              <a:gd name="connsiteX269" fmla="*/ 1539445 w 1785077"/>
              <a:gd name="connsiteY269" fmla="*/ 92326 h 463366"/>
              <a:gd name="connsiteX270" fmla="*/ 1590612 w 1785077"/>
              <a:gd name="connsiteY270" fmla="*/ 92326 h 463366"/>
              <a:gd name="connsiteX271" fmla="*/ 1590612 w 1785077"/>
              <a:gd name="connsiteY271" fmla="*/ 112035 h 463366"/>
              <a:gd name="connsiteX272" fmla="*/ 1647225 w 1785077"/>
              <a:gd name="connsiteY272" fmla="*/ 86464 h 463366"/>
              <a:gd name="connsiteX273" fmla="*/ 1411168 w 1785077"/>
              <a:gd name="connsiteY273" fmla="*/ 86464 h 463366"/>
              <a:gd name="connsiteX274" fmla="*/ 1515986 w 1785077"/>
              <a:gd name="connsiteY274" fmla="*/ 192907 h 463366"/>
              <a:gd name="connsiteX275" fmla="*/ 1411168 w 1785077"/>
              <a:gd name="connsiteY275" fmla="*/ 298931 h 463366"/>
              <a:gd name="connsiteX276" fmla="*/ 1306769 w 1785077"/>
              <a:gd name="connsiteY276" fmla="*/ 192907 h 463366"/>
              <a:gd name="connsiteX277" fmla="*/ 1411168 w 1785077"/>
              <a:gd name="connsiteY277" fmla="*/ 86464 h 463366"/>
              <a:gd name="connsiteX278" fmla="*/ 1110119 w 1785077"/>
              <a:gd name="connsiteY278" fmla="*/ 86464 h 463366"/>
              <a:gd name="connsiteX279" fmla="*/ 1211167 w 1785077"/>
              <a:gd name="connsiteY279" fmla="*/ 188720 h 463366"/>
              <a:gd name="connsiteX280" fmla="*/ 1209910 w 1785077"/>
              <a:gd name="connsiteY280" fmla="*/ 205468 h 463366"/>
              <a:gd name="connsiteX281" fmla="*/ 1061046 w 1785077"/>
              <a:gd name="connsiteY281" fmla="*/ 205468 h 463366"/>
              <a:gd name="connsiteX282" fmla="*/ 1118497 w 1785077"/>
              <a:gd name="connsiteY282" fmla="*/ 253680 h 463366"/>
              <a:gd name="connsiteX283" fmla="*/ 1167570 w 1785077"/>
              <a:gd name="connsiteY283" fmla="*/ 232715 h 463366"/>
              <a:gd name="connsiteX284" fmla="*/ 1193991 w 1785077"/>
              <a:gd name="connsiteY284" fmla="*/ 267498 h 463366"/>
              <a:gd name="connsiteX285" fmla="*/ 1116433 w 1785077"/>
              <a:gd name="connsiteY285" fmla="*/ 298931 h 463366"/>
              <a:gd name="connsiteX286" fmla="*/ 1008652 w 1785077"/>
              <a:gd name="connsiteY286" fmla="*/ 192907 h 463366"/>
              <a:gd name="connsiteX287" fmla="*/ 1110119 w 1785077"/>
              <a:gd name="connsiteY287" fmla="*/ 86464 h 463366"/>
              <a:gd name="connsiteX288" fmla="*/ 983518 w 1785077"/>
              <a:gd name="connsiteY288" fmla="*/ 86464 h 463366"/>
              <a:gd name="connsiteX289" fmla="*/ 1015804 w 1785077"/>
              <a:gd name="connsiteY289" fmla="*/ 96513 h 463366"/>
              <a:gd name="connsiteX290" fmla="*/ 994409 w 1785077"/>
              <a:gd name="connsiteY290" fmla="*/ 145144 h 463366"/>
              <a:gd name="connsiteX291" fmla="*/ 967988 w 1785077"/>
              <a:gd name="connsiteY291" fmla="*/ 136351 h 463366"/>
              <a:gd name="connsiteX292" fmla="*/ 934445 w 1785077"/>
              <a:gd name="connsiteY292" fmla="*/ 180764 h 463366"/>
              <a:gd name="connsiteX293" fmla="*/ 934445 w 1785077"/>
              <a:gd name="connsiteY293" fmla="*/ 293069 h 463366"/>
              <a:gd name="connsiteX294" fmla="*/ 883278 w 1785077"/>
              <a:gd name="connsiteY294" fmla="*/ 293069 h 463366"/>
              <a:gd name="connsiteX295" fmla="*/ 883278 w 1785077"/>
              <a:gd name="connsiteY295" fmla="*/ 92326 h 463366"/>
              <a:gd name="connsiteX296" fmla="*/ 934445 w 1785077"/>
              <a:gd name="connsiteY296" fmla="*/ 92326 h 463366"/>
              <a:gd name="connsiteX297" fmla="*/ 934445 w 1785077"/>
              <a:gd name="connsiteY297" fmla="*/ 114129 h 463366"/>
              <a:gd name="connsiteX298" fmla="*/ 983518 w 1785077"/>
              <a:gd name="connsiteY298" fmla="*/ 86464 h 463366"/>
              <a:gd name="connsiteX299" fmla="*/ 289840 w 1785077"/>
              <a:gd name="connsiteY299" fmla="*/ 38556 h 463366"/>
              <a:gd name="connsiteX300" fmla="*/ 241383 w 1785077"/>
              <a:gd name="connsiteY300" fmla="*/ 74352 h 463366"/>
              <a:gd name="connsiteX301" fmla="*/ 247637 w 1785077"/>
              <a:gd name="connsiteY301" fmla="*/ 123760 h 463366"/>
              <a:gd name="connsiteX302" fmla="*/ 192849 w 1785077"/>
              <a:gd name="connsiteY302" fmla="*/ 146131 h 463366"/>
              <a:gd name="connsiteX303" fmla="*/ 138151 w 1785077"/>
              <a:gd name="connsiteY303" fmla="*/ 123610 h 463366"/>
              <a:gd name="connsiteX304" fmla="*/ 144285 w 1785077"/>
              <a:gd name="connsiteY304" fmla="*/ 111587 h 463366"/>
              <a:gd name="connsiteX305" fmla="*/ 147574 w 1785077"/>
              <a:gd name="connsiteY305" fmla="*/ 93063 h 463366"/>
              <a:gd name="connsiteX306" fmla="*/ 137965 w 1785077"/>
              <a:gd name="connsiteY306" fmla="*/ 62101 h 463366"/>
              <a:gd name="connsiteX307" fmla="*/ 111700 w 1785077"/>
              <a:gd name="connsiteY307" fmla="*/ 41782 h 463366"/>
              <a:gd name="connsiteX308" fmla="*/ 90289 w 1785077"/>
              <a:gd name="connsiteY308" fmla="*/ 38556 h 463366"/>
              <a:gd name="connsiteX309" fmla="*/ 41831 w 1785077"/>
              <a:gd name="connsiteY309" fmla="*/ 74352 h 463366"/>
              <a:gd name="connsiteX310" fmla="*/ 74417 w 1785077"/>
              <a:gd name="connsiteY310" fmla="*/ 144187 h 463366"/>
              <a:gd name="connsiteX311" fmla="*/ 123849 w 1785077"/>
              <a:gd name="connsiteY311" fmla="*/ 137936 h 463366"/>
              <a:gd name="connsiteX312" fmla="*/ 146231 w 1785077"/>
              <a:gd name="connsiteY312" fmla="*/ 192668 h 463366"/>
              <a:gd name="connsiteX313" fmla="*/ 123699 w 1785077"/>
              <a:gd name="connsiteY313" fmla="*/ 247340 h 463366"/>
              <a:gd name="connsiteX314" fmla="*/ 111670 w 1785077"/>
              <a:gd name="connsiteY314" fmla="*/ 241209 h 463366"/>
              <a:gd name="connsiteX315" fmla="*/ 93118 w 1785077"/>
              <a:gd name="connsiteY315" fmla="*/ 237919 h 463366"/>
              <a:gd name="connsiteX316" fmla="*/ 93128 w 1785077"/>
              <a:gd name="connsiteY316" fmla="*/ 237895 h 463366"/>
              <a:gd name="connsiteX317" fmla="*/ 62160 w 1785077"/>
              <a:gd name="connsiteY317" fmla="*/ 247497 h 463366"/>
              <a:gd name="connsiteX318" fmla="*/ 41831 w 1785077"/>
              <a:gd name="connsiteY318" fmla="*/ 273749 h 463366"/>
              <a:gd name="connsiteX319" fmla="*/ 74417 w 1785077"/>
              <a:gd name="connsiteY319" fmla="*/ 343584 h 463366"/>
              <a:gd name="connsiteX320" fmla="*/ 144286 w 1785077"/>
              <a:gd name="connsiteY320" fmla="*/ 311014 h 463366"/>
              <a:gd name="connsiteX321" fmla="*/ 138032 w 1785077"/>
              <a:gd name="connsiteY321" fmla="*/ 261606 h 463366"/>
              <a:gd name="connsiteX322" fmla="*/ 192820 w 1785077"/>
              <a:gd name="connsiteY322" fmla="*/ 239235 h 463366"/>
              <a:gd name="connsiteX323" fmla="*/ 247458 w 1785077"/>
              <a:gd name="connsiteY323" fmla="*/ 261785 h 463366"/>
              <a:gd name="connsiteX324" fmla="*/ 241324 w 1785077"/>
              <a:gd name="connsiteY324" fmla="*/ 273808 h 463366"/>
              <a:gd name="connsiteX325" fmla="*/ 238035 w 1785077"/>
              <a:gd name="connsiteY325" fmla="*/ 292332 h 463366"/>
              <a:gd name="connsiteX326" fmla="*/ 247644 w 1785077"/>
              <a:gd name="connsiteY326" fmla="*/ 323295 h 463366"/>
              <a:gd name="connsiteX327" fmla="*/ 273909 w 1785077"/>
              <a:gd name="connsiteY327" fmla="*/ 343614 h 463366"/>
              <a:gd name="connsiteX328" fmla="*/ 343778 w 1785077"/>
              <a:gd name="connsiteY328" fmla="*/ 311044 h 463366"/>
              <a:gd name="connsiteX329" fmla="*/ 311192 w 1785077"/>
              <a:gd name="connsiteY329" fmla="*/ 241208 h 463366"/>
              <a:gd name="connsiteX330" fmla="*/ 261760 w 1785077"/>
              <a:gd name="connsiteY330" fmla="*/ 247459 h 463366"/>
              <a:gd name="connsiteX331" fmla="*/ 239379 w 1785077"/>
              <a:gd name="connsiteY331" fmla="*/ 192697 h 463366"/>
              <a:gd name="connsiteX332" fmla="*/ 261940 w 1785077"/>
              <a:gd name="connsiteY332" fmla="*/ 138115 h 463366"/>
              <a:gd name="connsiteX333" fmla="*/ 273969 w 1785077"/>
              <a:gd name="connsiteY333" fmla="*/ 144246 h 463366"/>
              <a:gd name="connsiteX334" fmla="*/ 292497 w 1785077"/>
              <a:gd name="connsiteY334" fmla="*/ 147532 h 463366"/>
              <a:gd name="connsiteX335" fmla="*/ 292520 w 1785077"/>
              <a:gd name="connsiteY335" fmla="*/ 147477 h 463366"/>
              <a:gd name="connsiteX336" fmla="*/ 343837 w 1785077"/>
              <a:gd name="connsiteY336" fmla="*/ 111617 h 463366"/>
              <a:gd name="connsiteX337" fmla="*/ 311252 w 1785077"/>
              <a:gd name="connsiteY337" fmla="*/ 41782 h 463366"/>
              <a:gd name="connsiteX338" fmla="*/ 289840 w 1785077"/>
              <a:gd name="connsiteY338" fmla="*/ 38556 h 463366"/>
              <a:gd name="connsiteX339" fmla="*/ 1232142 w 1785077"/>
              <a:gd name="connsiteY339" fmla="*/ 4755 h 463366"/>
              <a:gd name="connsiteX340" fmla="*/ 1283310 w 1785077"/>
              <a:gd name="connsiteY340" fmla="*/ 4755 h 463366"/>
              <a:gd name="connsiteX341" fmla="*/ 1283310 w 1785077"/>
              <a:gd name="connsiteY341" fmla="*/ 293099 h 463366"/>
              <a:gd name="connsiteX342" fmla="*/ 1232142 w 1785077"/>
              <a:gd name="connsiteY342" fmla="*/ 293099 h 463366"/>
              <a:gd name="connsiteX343" fmla="*/ 1232142 w 1785077"/>
              <a:gd name="connsiteY343" fmla="*/ 156868 h 463366"/>
              <a:gd name="connsiteX344" fmla="*/ 93029 w 1785077"/>
              <a:gd name="connsiteY344" fmla="*/ 0 h 463366"/>
              <a:gd name="connsiteX345" fmla="*/ 186087 w 1785077"/>
              <a:gd name="connsiteY345" fmla="*/ 92984 h 463366"/>
              <a:gd name="connsiteX346" fmla="*/ 184801 w 1785077"/>
              <a:gd name="connsiteY346" fmla="*/ 108375 h 463366"/>
              <a:gd name="connsiteX347" fmla="*/ 192819 w 1785077"/>
              <a:gd name="connsiteY347" fmla="*/ 111677 h 463366"/>
              <a:gd name="connsiteX348" fmla="*/ 200808 w 1785077"/>
              <a:gd name="connsiteY348" fmla="*/ 108387 h 463366"/>
              <a:gd name="connsiteX349" fmla="*/ 199552 w 1785077"/>
              <a:gd name="connsiteY349" fmla="*/ 92984 h 463366"/>
              <a:gd name="connsiteX350" fmla="*/ 292580 w 1785077"/>
              <a:gd name="connsiteY350" fmla="*/ 0 h 463366"/>
              <a:gd name="connsiteX351" fmla="*/ 385609 w 1785077"/>
              <a:gd name="connsiteY351" fmla="*/ 92984 h 463366"/>
              <a:gd name="connsiteX352" fmla="*/ 292580 w 1785077"/>
              <a:gd name="connsiteY352" fmla="*/ 185969 h 463366"/>
              <a:gd name="connsiteX353" fmla="*/ 277196 w 1785077"/>
              <a:gd name="connsiteY353" fmla="*/ 184685 h 463366"/>
              <a:gd name="connsiteX354" fmla="*/ 273879 w 1785077"/>
              <a:gd name="connsiteY354" fmla="*/ 192727 h 463366"/>
              <a:gd name="connsiteX355" fmla="*/ 277170 w 1785077"/>
              <a:gd name="connsiteY355" fmla="*/ 200713 h 463366"/>
              <a:gd name="connsiteX356" fmla="*/ 292580 w 1785077"/>
              <a:gd name="connsiteY356" fmla="*/ 199427 h 463366"/>
              <a:gd name="connsiteX357" fmla="*/ 385579 w 1785077"/>
              <a:gd name="connsiteY357" fmla="*/ 292411 h 463366"/>
              <a:gd name="connsiteX358" fmla="*/ 292551 w 1785077"/>
              <a:gd name="connsiteY358" fmla="*/ 385395 h 463366"/>
              <a:gd name="connsiteX359" fmla="*/ 199522 w 1785077"/>
              <a:gd name="connsiteY359" fmla="*/ 292411 h 463366"/>
              <a:gd name="connsiteX360" fmla="*/ 200808 w 1785077"/>
              <a:gd name="connsiteY360" fmla="*/ 277021 h 463366"/>
              <a:gd name="connsiteX361" fmla="*/ 192790 w 1785077"/>
              <a:gd name="connsiteY361" fmla="*/ 273719 h 463366"/>
              <a:gd name="connsiteX362" fmla="*/ 184770 w 1785077"/>
              <a:gd name="connsiteY362" fmla="*/ 277009 h 463366"/>
              <a:gd name="connsiteX363" fmla="*/ 186057 w 1785077"/>
              <a:gd name="connsiteY363" fmla="*/ 292411 h 463366"/>
              <a:gd name="connsiteX364" fmla="*/ 93029 w 1785077"/>
              <a:gd name="connsiteY364" fmla="*/ 385396 h 463366"/>
              <a:gd name="connsiteX365" fmla="*/ 0 w 1785077"/>
              <a:gd name="connsiteY365" fmla="*/ 292411 h 463366"/>
              <a:gd name="connsiteX366" fmla="*/ 93058 w 1785077"/>
              <a:gd name="connsiteY366" fmla="*/ 199367 h 463366"/>
              <a:gd name="connsiteX367" fmla="*/ 108458 w 1785077"/>
              <a:gd name="connsiteY367" fmla="*/ 200682 h 463366"/>
              <a:gd name="connsiteX368" fmla="*/ 111760 w 1785077"/>
              <a:gd name="connsiteY368" fmla="*/ 192668 h 463366"/>
              <a:gd name="connsiteX369" fmla="*/ 108439 w 1785077"/>
              <a:gd name="connsiteY369" fmla="*/ 184713 h 463366"/>
              <a:gd name="connsiteX370" fmla="*/ 93029 w 1785077"/>
              <a:gd name="connsiteY370" fmla="*/ 185939 h 463366"/>
              <a:gd name="connsiteX371" fmla="*/ 0 w 1785077"/>
              <a:gd name="connsiteY371" fmla="*/ 92984 h 463366"/>
              <a:gd name="connsiteX372" fmla="*/ 93029 w 1785077"/>
              <a:gd name="connsiteY372" fmla="*/ 0 h 463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Lst>
            <a:rect l="l" t="t" r="r" b="b"/>
            <a:pathLst>
              <a:path w="1785077" h="463366">
                <a:moveTo>
                  <a:pt x="609398" y="422691"/>
                </a:moveTo>
                <a:lnTo>
                  <a:pt x="609398" y="445690"/>
                </a:lnTo>
                <a:lnTo>
                  <a:pt x="628578" y="445690"/>
                </a:lnTo>
                <a:lnTo>
                  <a:pt x="628578" y="445720"/>
                </a:lnTo>
                <a:cubicBezTo>
                  <a:pt x="636538" y="445720"/>
                  <a:pt x="642372" y="440905"/>
                  <a:pt x="642372" y="434206"/>
                </a:cubicBezTo>
                <a:cubicBezTo>
                  <a:pt x="642372" y="427506"/>
                  <a:pt x="636538" y="422691"/>
                  <a:pt x="628578" y="422691"/>
                </a:cubicBezTo>
                <a:close/>
                <a:moveTo>
                  <a:pt x="1511976" y="407797"/>
                </a:moveTo>
                <a:cubicBezTo>
                  <a:pt x="1501473" y="407797"/>
                  <a:pt x="1493932" y="416470"/>
                  <a:pt x="1493932" y="427387"/>
                </a:cubicBezTo>
                <a:cubicBezTo>
                  <a:pt x="1493932" y="438303"/>
                  <a:pt x="1501473" y="447126"/>
                  <a:pt x="1511976" y="447126"/>
                </a:cubicBezTo>
                <a:cubicBezTo>
                  <a:pt x="1522508" y="447156"/>
                  <a:pt x="1530019" y="438333"/>
                  <a:pt x="1530019" y="427387"/>
                </a:cubicBezTo>
                <a:cubicBezTo>
                  <a:pt x="1530019" y="416440"/>
                  <a:pt x="1522478" y="407797"/>
                  <a:pt x="1511976" y="407797"/>
                </a:cubicBezTo>
                <a:close/>
                <a:moveTo>
                  <a:pt x="1181094" y="407797"/>
                </a:moveTo>
                <a:cubicBezTo>
                  <a:pt x="1170592" y="407797"/>
                  <a:pt x="1163051" y="416470"/>
                  <a:pt x="1163051" y="427387"/>
                </a:cubicBezTo>
                <a:cubicBezTo>
                  <a:pt x="1163051" y="438303"/>
                  <a:pt x="1170592" y="447126"/>
                  <a:pt x="1181094" y="447126"/>
                </a:cubicBezTo>
                <a:cubicBezTo>
                  <a:pt x="1191627" y="447156"/>
                  <a:pt x="1199137" y="438333"/>
                  <a:pt x="1199137" y="427387"/>
                </a:cubicBezTo>
                <a:cubicBezTo>
                  <a:pt x="1199137" y="416440"/>
                  <a:pt x="1191597" y="407797"/>
                  <a:pt x="1181094" y="407797"/>
                </a:cubicBezTo>
                <a:close/>
                <a:moveTo>
                  <a:pt x="1051680" y="407797"/>
                </a:moveTo>
                <a:cubicBezTo>
                  <a:pt x="1041177" y="407797"/>
                  <a:pt x="1033637" y="416470"/>
                  <a:pt x="1033637" y="427387"/>
                </a:cubicBezTo>
                <a:cubicBezTo>
                  <a:pt x="1033637" y="438303"/>
                  <a:pt x="1041177" y="447126"/>
                  <a:pt x="1051680" y="447126"/>
                </a:cubicBezTo>
                <a:cubicBezTo>
                  <a:pt x="1062183" y="447126"/>
                  <a:pt x="1069723" y="438333"/>
                  <a:pt x="1069723" y="427387"/>
                </a:cubicBezTo>
                <a:cubicBezTo>
                  <a:pt x="1069723" y="416440"/>
                  <a:pt x="1062183" y="407797"/>
                  <a:pt x="1051680" y="407797"/>
                </a:cubicBezTo>
                <a:close/>
                <a:moveTo>
                  <a:pt x="859459" y="407797"/>
                </a:moveTo>
                <a:cubicBezTo>
                  <a:pt x="848956" y="407797"/>
                  <a:pt x="841416" y="416470"/>
                  <a:pt x="841416" y="427387"/>
                </a:cubicBezTo>
                <a:cubicBezTo>
                  <a:pt x="841416" y="438303"/>
                  <a:pt x="848956" y="447126"/>
                  <a:pt x="859459" y="447126"/>
                </a:cubicBezTo>
                <a:cubicBezTo>
                  <a:pt x="869962" y="447156"/>
                  <a:pt x="877502" y="438333"/>
                  <a:pt x="877502" y="427387"/>
                </a:cubicBezTo>
                <a:cubicBezTo>
                  <a:pt x="877502" y="416440"/>
                  <a:pt x="869962" y="407797"/>
                  <a:pt x="859459" y="407797"/>
                </a:cubicBezTo>
                <a:close/>
                <a:moveTo>
                  <a:pt x="1432981" y="406242"/>
                </a:moveTo>
                <a:cubicBezTo>
                  <a:pt x="1424752" y="406242"/>
                  <a:pt x="1418797" y="411924"/>
                  <a:pt x="1416643" y="420149"/>
                </a:cubicBezTo>
                <a:lnTo>
                  <a:pt x="1449169" y="420149"/>
                </a:lnTo>
                <a:cubicBezTo>
                  <a:pt x="1447044" y="411057"/>
                  <a:pt x="1440940" y="406242"/>
                  <a:pt x="1432981" y="406242"/>
                </a:cubicBezTo>
                <a:close/>
                <a:moveTo>
                  <a:pt x="705000" y="406242"/>
                </a:moveTo>
                <a:cubicBezTo>
                  <a:pt x="696771" y="406242"/>
                  <a:pt x="690817" y="411924"/>
                  <a:pt x="688662" y="420149"/>
                </a:cubicBezTo>
                <a:lnTo>
                  <a:pt x="721188" y="420149"/>
                </a:lnTo>
                <a:cubicBezTo>
                  <a:pt x="719063" y="411057"/>
                  <a:pt x="712959" y="406242"/>
                  <a:pt x="705000" y="406242"/>
                </a:cubicBezTo>
                <a:close/>
                <a:moveTo>
                  <a:pt x="986749" y="393441"/>
                </a:moveTo>
                <a:lnTo>
                  <a:pt x="1004074" y="393441"/>
                </a:lnTo>
                <a:lnTo>
                  <a:pt x="1004074" y="434654"/>
                </a:lnTo>
                <a:lnTo>
                  <a:pt x="1004074" y="461482"/>
                </a:lnTo>
                <a:lnTo>
                  <a:pt x="986749" y="461482"/>
                </a:lnTo>
                <a:close/>
                <a:moveTo>
                  <a:pt x="904881" y="393441"/>
                </a:moveTo>
                <a:lnTo>
                  <a:pt x="923912" y="393441"/>
                </a:lnTo>
                <a:lnTo>
                  <a:pt x="941237" y="445989"/>
                </a:lnTo>
                <a:lnTo>
                  <a:pt x="958861" y="393441"/>
                </a:lnTo>
                <a:lnTo>
                  <a:pt x="976635" y="393441"/>
                </a:lnTo>
                <a:lnTo>
                  <a:pt x="952069" y="461482"/>
                </a:lnTo>
                <a:lnTo>
                  <a:pt x="929477" y="461482"/>
                </a:lnTo>
                <a:close/>
                <a:moveTo>
                  <a:pt x="1509133" y="391646"/>
                </a:moveTo>
                <a:cubicBezTo>
                  <a:pt x="1518379" y="391646"/>
                  <a:pt x="1525471" y="395774"/>
                  <a:pt x="1530019" y="402443"/>
                </a:cubicBezTo>
                <a:lnTo>
                  <a:pt x="1530019" y="393471"/>
                </a:lnTo>
                <a:lnTo>
                  <a:pt x="1547344" y="393471"/>
                </a:lnTo>
                <a:lnTo>
                  <a:pt x="1547344" y="461512"/>
                </a:lnTo>
                <a:lnTo>
                  <a:pt x="1530019" y="461512"/>
                </a:lnTo>
                <a:lnTo>
                  <a:pt x="1530019" y="451851"/>
                </a:lnTo>
                <a:cubicBezTo>
                  <a:pt x="1525471" y="458820"/>
                  <a:pt x="1518379" y="463366"/>
                  <a:pt x="1509133" y="463366"/>
                </a:cubicBezTo>
                <a:cubicBezTo>
                  <a:pt x="1491239" y="463366"/>
                  <a:pt x="1476607" y="448741"/>
                  <a:pt x="1476607" y="427446"/>
                </a:cubicBezTo>
                <a:cubicBezTo>
                  <a:pt x="1476607" y="406989"/>
                  <a:pt x="1490402" y="391646"/>
                  <a:pt x="1509133" y="391646"/>
                </a:cubicBezTo>
                <a:close/>
                <a:moveTo>
                  <a:pt x="1432681" y="391646"/>
                </a:moveTo>
                <a:cubicBezTo>
                  <a:pt x="1452161" y="391646"/>
                  <a:pt x="1467062" y="406571"/>
                  <a:pt x="1467062" y="426160"/>
                </a:cubicBezTo>
                <a:cubicBezTo>
                  <a:pt x="1467092" y="428403"/>
                  <a:pt x="1466942" y="431095"/>
                  <a:pt x="1466673" y="432232"/>
                </a:cubicBezTo>
                <a:lnTo>
                  <a:pt x="1416224" y="432232"/>
                </a:lnTo>
                <a:cubicBezTo>
                  <a:pt x="1418079" y="441593"/>
                  <a:pt x="1425171" y="448143"/>
                  <a:pt x="1435554" y="448143"/>
                </a:cubicBezTo>
                <a:cubicBezTo>
                  <a:pt x="1442526" y="448143"/>
                  <a:pt x="1448331" y="445152"/>
                  <a:pt x="1452310" y="441055"/>
                </a:cubicBezTo>
                <a:lnTo>
                  <a:pt x="1461257" y="452988"/>
                </a:lnTo>
                <a:cubicBezTo>
                  <a:pt x="1455991" y="458820"/>
                  <a:pt x="1446326" y="463366"/>
                  <a:pt x="1434955" y="463366"/>
                </a:cubicBezTo>
                <a:cubicBezTo>
                  <a:pt x="1413771" y="463366"/>
                  <a:pt x="1398450" y="447305"/>
                  <a:pt x="1398450" y="427446"/>
                </a:cubicBezTo>
                <a:cubicBezTo>
                  <a:pt x="1398450" y="407707"/>
                  <a:pt x="1413082" y="391646"/>
                  <a:pt x="1432681" y="391646"/>
                </a:cubicBezTo>
                <a:close/>
                <a:moveTo>
                  <a:pt x="1178252" y="391646"/>
                </a:moveTo>
                <a:cubicBezTo>
                  <a:pt x="1187498" y="391646"/>
                  <a:pt x="1194589" y="395774"/>
                  <a:pt x="1199137" y="402443"/>
                </a:cubicBezTo>
                <a:lnTo>
                  <a:pt x="1199137" y="393471"/>
                </a:lnTo>
                <a:lnTo>
                  <a:pt x="1216463" y="393471"/>
                </a:lnTo>
                <a:lnTo>
                  <a:pt x="1216463" y="461512"/>
                </a:lnTo>
                <a:lnTo>
                  <a:pt x="1199137" y="461512"/>
                </a:lnTo>
                <a:lnTo>
                  <a:pt x="1199137" y="451851"/>
                </a:lnTo>
                <a:cubicBezTo>
                  <a:pt x="1194589" y="458820"/>
                  <a:pt x="1187498" y="463366"/>
                  <a:pt x="1178252" y="463366"/>
                </a:cubicBezTo>
                <a:cubicBezTo>
                  <a:pt x="1160358" y="463366"/>
                  <a:pt x="1145726" y="448741"/>
                  <a:pt x="1145726" y="427446"/>
                </a:cubicBezTo>
                <a:cubicBezTo>
                  <a:pt x="1145726" y="406989"/>
                  <a:pt x="1159520" y="391646"/>
                  <a:pt x="1178252" y="391646"/>
                </a:cubicBezTo>
                <a:close/>
                <a:moveTo>
                  <a:pt x="856616" y="391646"/>
                </a:moveTo>
                <a:cubicBezTo>
                  <a:pt x="865862" y="391646"/>
                  <a:pt x="872954" y="395774"/>
                  <a:pt x="877502" y="402443"/>
                </a:cubicBezTo>
                <a:lnTo>
                  <a:pt x="877502" y="393471"/>
                </a:lnTo>
                <a:lnTo>
                  <a:pt x="894827" y="393471"/>
                </a:lnTo>
                <a:lnTo>
                  <a:pt x="894827" y="461512"/>
                </a:lnTo>
                <a:lnTo>
                  <a:pt x="877502" y="461512"/>
                </a:lnTo>
                <a:lnTo>
                  <a:pt x="877502" y="451851"/>
                </a:lnTo>
                <a:cubicBezTo>
                  <a:pt x="872954" y="458820"/>
                  <a:pt x="865862" y="463366"/>
                  <a:pt x="856616" y="463366"/>
                </a:cubicBezTo>
                <a:cubicBezTo>
                  <a:pt x="838723" y="463366"/>
                  <a:pt x="824091" y="448741"/>
                  <a:pt x="824091" y="427446"/>
                </a:cubicBezTo>
                <a:cubicBezTo>
                  <a:pt x="824091" y="406989"/>
                  <a:pt x="837885" y="391646"/>
                  <a:pt x="856616" y="391646"/>
                </a:cubicBezTo>
                <a:close/>
                <a:moveTo>
                  <a:pt x="704701" y="391646"/>
                </a:moveTo>
                <a:cubicBezTo>
                  <a:pt x="724180" y="391646"/>
                  <a:pt x="739081" y="406571"/>
                  <a:pt x="739081" y="426160"/>
                </a:cubicBezTo>
                <a:cubicBezTo>
                  <a:pt x="739111" y="428403"/>
                  <a:pt x="738962" y="431095"/>
                  <a:pt x="738692" y="432232"/>
                </a:cubicBezTo>
                <a:lnTo>
                  <a:pt x="688243" y="432232"/>
                </a:lnTo>
                <a:cubicBezTo>
                  <a:pt x="690099" y="441593"/>
                  <a:pt x="697190" y="448143"/>
                  <a:pt x="707573" y="448143"/>
                </a:cubicBezTo>
                <a:cubicBezTo>
                  <a:pt x="714545" y="448143"/>
                  <a:pt x="720350" y="445152"/>
                  <a:pt x="724330" y="441055"/>
                </a:cubicBezTo>
                <a:lnTo>
                  <a:pt x="733276" y="452988"/>
                </a:lnTo>
                <a:cubicBezTo>
                  <a:pt x="728010" y="458820"/>
                  <a:pt x="718345" y="463366"/>
                  <a:pt x="706975" y="463366"/>
                </a:cubicBezTo>
                <a:cubicBezTo>
                  <a:pt x="685790" y="463366"/>
                  <a:pt x="670469" y="447305"/>
                  <a:pt x="670469" y="427446"/>
                </a:cubicBezTo>
                <a:cubicBezTo>
                  <a:pt x="670469" y="407707"/>
                  <a:pt x="685102" y="391646"/>
                  <a:pt x="704701" y="391646"/>
                </a:cubicBezTo>
                <a:close/>
                <a:moveTo>
                  <a:pt x="1051680" y="391616"/>
                </a:moveTo>
                <a:cubicBezTo>
                  <a:pt x="1071429" y="391616"/>
                  <a:pt x="1087048" y="407677"/>
                  <a:pt x="1087048" y="427417"/>
                </a:cubicBezTo>
                <a:cubicBezTo>
                  <a:pt x="1087048" y="447305"/>
                  <a:pt x="1071429" y="463336"/>
                  <a:pt x="1051680" y="463336"/>
                </a:cubicBezTo>
                <a:cubicBezTo>
                  <a:pt x="1031931" y="463336"/>
                  <a:pt x="1016312" y="447276"/>
                  <a:pt x="1016312" y="427417"/>
                </a:cubicBezTo>
                <a:cubicBezTo>
                  <a:pt x="1016312" y="407647"/>
                  <a:pt x="1031931" y="391616"/>
                  <a:pt x="1051680" y="391616"/>
                </a:cubicBezTo>
                <a:close/>
                <a:moveTo>
                  <a:pt x="1133219" y="391587"/>
                </a:moveTo>
                <a:cubicBezTo>
                  <a:pt x="1137767" y="391616"/>
                  <a:pt x="1141477" y="392753"/>
                  <a:pt x="1144020" y="394876"/>
                </a:cubicBezTo>
                <a:lnTo>
                  <a:pt x="1136929" y="411206"/>
                </a:lnTo>
                <a:cubicBezTo>
                  <a:pt x="1134655" y="409502"/>
                  <a:pt x="1131244" y="408365"/>
                  <a:pt x="1127833" y="408365"/>
                </a:cubicBezTo>
                <a:cubicBezTo>
                  <a:pt x="1121010" y="408365"/>
                  <a:pt x="1116462" y="414197"/>
                  <a:pt x="1116462" y="423409"/>
                </a:cubicBezTo>
                <a:lnTo>
                  <a:pt x="1116462" y="461482"/>
                </a:lnTo>
                <a:lnTo>
                  <a:pt x="1099137" y="461482"/>
                </a:lnTo>
                <a:lnTo>
                  <a:pt x="1099137" y="393441"/>
                </a:lnTo>
                <a:lnTo>
                  <a:pt x="1116462" y="393441"/>
                </a:lnTo>
                <a:lnTo>
                  <a:pt x="1116462" y="403520"/>
                </a:lnTo>
                <a:cubicBezTo>
                  <a:pt x="1119724" y="396282"/>
                  <a:pt x="1125558" y="391587"/>
                  <a:pt x="1133219" y="391587"/>
                </a:cubicBezTo>
                <a:close/>
                <a:moveTo>
                  <a:pt x="609398" y="386173"/>
                </a:moveTo>
                <a:lnTo>
                  <a:pt x="609398" y="386203"/>
                </a:lnTo>
                <a:lnTo>
                  <a:pt x="609398" y="408066"/>
                </a:lnTo>
                <a:lnTo>
                  <a:pt x="626603" y="408066"/>
                </a:lnTo>
                <a:cubicBezTo>
                  <a:pt x="634413" y="408066"/>
                  <a:pt x="639829" y="403520"/>
                  <a:pt x="639829" y="397120"/>
                </a:cubicBezTo>
                <a:cubicBezTo>
                  <a:pt x="639829" y="390719"/>
                  <a:pt x="634293" y="386173"/>
                  <a:pt x="626603" y="386173"/>
                </a:cubicBezTo>
                <a:close/>
                <a:moveTo>
                  <a:pt x="1608595" y="375855"/>
                </a:moveTo>
                <a:lnTo>
                  <a:pt x="1626069" y="375855"/>
                </a:lnTo>
                <a:lnTo>
                  <a:pt x="1626069" y="393471"/>
                </a:lnTo>
                <a:lnTo>
                  <a:pt x="1644412" y="393471"/>
                </a:lnTo>
                <a:lnTo>
                  <a:pt x="1644412" y="408814"/>
                </a:lnTo>
                <a:lnTo>
                  <a:pt x="1626219" y="408814"/>
                </a:lnTo>
                <a:lnTo>
                  <a:pt x="1626219" y="437795"/>
                </a:lnTo>
                <a:cubicBezTo>
                  <a:pt x="1626219" y="444195"/>
                  <a:pt x="1628763" y="447156"/>
                  <a:pt x="1633879" y="447156"/>
                </a:cubicBezTo>
                <a:cubicBezTo>
                  <a:pt x="1637141" y="447156"/>
                  <a:pt x="1640283" y="445720"/>
                  <a:pt x="1641988" y="443746"/>
                </a:cubicBezTo>
                <a:lnTo>
                  <a:pt x="1649648" y="456667"/>
                </a:lnTo>
                <a:cubicBezTo>
                  <a:pt x="1645968" y="460345"/>
                  <a:pt x="1639564" y="463336"/>
                  <a:pt x="1631186" y="463336"/>
                </a:cubicBezTo>
                <a:cubicBezTo>
                  <a:pt x="1617392" y="463336"/>
                  <a:pt x="1608595" y="454812"/>
                  <a:pt x="1608595" y="438213"/>
                </a:cubicBezTo>
                <a:lnTo>
                  <a:pt x="1608595" y="408814"/>
                </a:lnTo>
                <a:lnTo>
                  <a:pt x="1596656" y="408814"/>
                </a:lnTo>
                <a:lnTo>
                  <a:pt x="1596656" y="393471"/>
                </a:lnTo>
                <a:lnTo>
                  <a:pt x="1608595" y="393471"/>
                </a:lnTo>
                <a:close/>
                <a:moveTo>
                  <a:pt x="591654" y="370591"/>
                </a:moveTo>
                <a:lnTo>
                  <a:pt x="591804" y="370591"/>
                </a:lnTo>
                <a:cubicBezTo>
                  <a:pt x="592103" y="370591"/>
                  <a:pt x="609428" y="370591"/>
                  <a:pt x="609428" y="370591"/>
                </a:cubicBezTo>
                <a:lnTo>
                  <a:pt x="628339" y="370591"/>
                </a:lnTo>
                <a:cubicBezTo>
                  <a:pt x="645395" y="370591"/>
                  <a:pt x="658321" y="380969"/>
                  <a:pt x="658321" y="395714"/>
                </a:cubicBezTo>
                <a:cubicBezTo>
                  <a:pt x="658321" y="406361"/>
                  <a:pt x="650930" y="412193"/>
                  <a:pt x="644826" y="414735"/>
                </a:cubicBezTo>
                <a:cubicBezTo>
                  <a:pt x="653743" y="417457"/>
                  <a:pt x="660834" y="424545"/>
                  <a:pt x="660834" y="435910"/>
                </a:cubicBezTo>
                <a:cubicBezTo>
                  <a:pt x="660834" y="449549"/>
                  <a:pt x="650182" y="461482"/>
                  <a:pt x="630433" y="461482"/>
                </a:cubicBezTo>
                <a:lnTo>
                  <a:pt x="591654" y="461482"/>
                </a:lnTo>
                <a:close/>
                <a:moveTo>
                  <a:pt x="1306678" y="370442"/>
                </a:moveTo>
                <a:lnTo>
                  <a:pt x="1324452" y="370442"/>
                </a:lnTo>
                <a:lnTo>
                  <a:pt x="1324452" y="406660"/>
                </a:lnTo>
                <a:lnTo>
                  <a:pt x="1367929" y="406660"/>
                </a:lnTo>
                <a:lnTo>
                  <a:pt x="1367929" y="370442"/>
                </a:lnTo>
                <a:lnTo>
                  <a:pt x="1385703" y="370442"/>
                </a:lnTo>
                <a:lnTo>
                  <a:pt x="1385703" y="461482"/>
                </a:lnTo>
                <a:lnTo>
                  <a:pt x="1367929" y="461482"/>
                </a:lnTo>
                <a:lnTo>
                  <a:pt x="1367929" y="423289"/>
                </a:lnTo>
                <a:lnTo>
                  <a:pt x="1324452" y="423289"/>
                </a:lnTo>
                <a:lnTo>
                  <a:pt x="1324452" y="461482"/>
                </a:lnTo>
                <a:lnTo>
                  <a:pt x="1306678" y="461482"/>
                </a:lnTo>
                <a:close/>
                <a:moveTo>
                  <a:pt x="995426" y="364071"/>
                </a:moveTo>
                <a:cubicBezTo>
                  <a:pt x="1000962" y="364071"/>
                  <a:pt x="1005660" y="368617"/>
                  <a:pt x="1005660" y="374150"/>
                </a:cubicBezTo>
                <a:cubicBezTo>
                  <a:pt x="1005660" y="379833"/>
                  <a:pt x="1000962" y="384379"/>
                  <a:pt x="995426" y="384379"/>
                </a:cubicBezTo>
                <a:cubicBezTo>
                  <a:pt x="989741" y="384379"/>
                  <a:pt x="985342" y="379833"/>
                  <a:pt x="985342" y="374150"/>
                </a:cubicBezTo>
                <a:cubicBezTo>
                  <a:pt x="985342" y="368617"/>
                  <a:pt x="989741" y="364071"/>
                  <a:pt x="995426" y="364071"/>
                </a:cubicBezTo>
                <a:close/>
                <a:moveTo>
                  <a:pt x="1563831" y="363802"/>
                </a:moveTo>
                <a:lnTo>
                  <a:pt x="1581156" y="363802"/>
                </a:lnTo>
                <a:lnTo>
                  <a:pt x="1581156" y="439918"/>
                </a:lnTo>
                <a:cubicBezTo>
                  <a:pt x="1581156" y="445182"/>
                  <a:pt x="1584148" y="447156"/>
                  <a:pt x="1587260" y="447156"/>
                </a:cubicBezTo>
                <a:cubicBezTo>
                  <a:pt x="1588128" y="447156"/>
                  <a:pt x="1589265" y="446857"/>
                  <a:pt x="1590103" y="446438"/>
                </a:cubicBezTo>
                <a:lnTo>
                  <a:pt x="1591958" y="461631"/>
                </a:lnTo>
                <a:cubicBezTo>
                  <a:pt x="1589415" y="462499"/>
                  <a:pt x="1586123" y="463067"/>
                  <a:pt x="1583580" y="463067"/>
                </a:cubicBezTo>
                <a:cubicBezTo>
                  <a:pt x="1573765" y="463067"/>
                  <a:pt x="1563831" y="456816"/>
                  <a:pt x="1563831" y="439499"/>
                </a:cubicBezTo>
                <a:close/>
                <a:moveTo>
                  <a:pt x="1232950" y="363802"/>
                </a:moveTo>
                <a:lnTo>
                  <a:pt x="1250275" y="363802"/>
                </a:lnTo>
                <a:lnTo>
                  <a:pt x="1250275" y="439918"/>
                </a:lnTo>
                <a:cubicBezTo>
                  <a:pt x="1250275" y="445182"/>
                  <a:pt x="1253267" y="447156"/>
                  <a:pt x="1256379" y="447156"/>
                </a:cubicBezTo>
                <a:cubicBezTo>
                  <a:pt x="1257247" y="447156"/>
                  <a:pt x="1258384" y="446857"/>
                  <a:pt x="1259222" y="446438"/>
                </a:cubicBezTo>
                <a:lnTo>
                  <a:pt x="1261077" y="461631"/>
                </a:lnTo>
                <a:cubicBezTo>
                  <a:pt x="1258533" y="462499"/>
                  <a:pt x="1255242" y="463067"/>
                  <a:pt x="1252698" y="463067"/>
                </a:cubicBezTo>
                <a:cubicBezTo>
                  <a:pt x="1242884" y="463067"/>
                  <a:pt x="1232950" y="456816"/>
                  <a:pt x="1232950" y="439499"/>
                </a:cubicBezTo>
                <a:close/>
                <a:moveTo>
                  <a:pt x="1661168" y="363772"/>
                </a:moveTo>
                <a:lnTo>
                  <a:pt x="1678494" y="363772"/>
                </a:lnTo>
                <a:lnTo>
                  <a:pt x="1678494" y="403101"/>
                </a:lnTo>
                <a:cubicBezTo>
                  <a:pt x="1682054" y="395863"/>
                  <a:pt x="1688876" y="391587"/>
                  <a:pt x="1697823" y="391587"/>
                </a:cubicBezTo>
                <a:cubicBezTo>
                  <a:pt x="1713443" y="391616"/>
                  <a:pt x="1723527" y="402533"/>
                  <a:pt x="1723527" y="420298"/>
                </a:cubicBezTo>
                <a:lnTo>
                  <a:pt x="1723527" y="461482"/>
                </a:lnTo>
                <a:lnTo>
                  <a:pt x="1706202" y="461482"/>
                </a:lnTo>
                <a:lnTo>
                  <a:pt x="1706202" y="422841"/>
                </a:lnTo>
                <a:cubicBezTo>
                  <a:pt x="1706202" y="413599"/>
                  <a:pt x="1700935" y="407797"/>
                  <a:pt x="1692407" y="407797"/>
                </a:cubicBezTo>
                <a:cubicBezTo>
                  <a:pt x="1683880" y="407797"/>
                  <a:pt x="1678494" y="413629"/>
                  <a:pt x="1678494" y="422841"/>
                </a:cubicBezTo>
                <a:lnTo>
                  <a:pt x="1678494" y="461482"/>
                </a:lnTo>
                <a:lnTo>
                  <a:pt x="1661168" y="461482"/>
                </a:lnTo>
                <a:close/>
                <a:moveTo>
                  <a:pt x="750213" y="363772"/>
                </a:moveTo>
                <a:lnTo>
                  <a:pt x="767538" y="363772"/>
                </a:lnTo>
                <a:lnTo>
                  <a:pt x="767538" y="403101"/>
                </a:lnTo>
                <a:cubicBezTo>
                  <a:pt x="771098" y="395863"/>
                  <a:pt x="777921" y="391587"/>
                  <a:pt x="786867" y="391587"/>
                </a:cubicBezTo>
                <a:cubicBezTo>
                  <a:pt x="802487" y="391616"/>
                  <a:pt x="812571" y="402533"/>
                  <a:pt x="812571" y="420298"/>
                </a:cubicBezTo>
                <a:lnTo>
                  <a:pt x="812571" y="461482"/>
                </a:lnTo>
                <a:lnTo>
                  <a:pt x="795246" y="461482"/>
                </a:lnTo>
                <a:lnTo>
                  <a:pt x="795246" y="422841"/>
                </a:lnTo>
                <a:cubicBezTo>
                  <a:pt x="795246" y="413599"/>
                  <a:pt x="789979" y="407797"/>
                  <a:pt x="781451" y="407797"/>
                </a:cubicBezTo>
                <a:cubicBezTo>
                  <a:pt x="772924" y="407797"/>
                  <a:pt x="767538" y="413629"/>
                  <a:pt x="767538" y="422841"/>
                </a:cubicBezTo>
                <a:lnTo>
                  <a:pt x="767538" y="461482"/>
                </a:lnTo>
                <a:lnTo>
                  <a:pt x="750213" y="461482"/>
                </a:lnTo>
                <a:close/>
                <a:moveTo>
                  <a:pt x="1760720" y="269382"/>
                </a:moveTo>
                <a:lnTo>
                  <a:pt x="1764580" y="269382"/>
                </a:lnTo>
                <a:lnTo>
                  <a:pt x="1773138" y="282960"/>
                </a:lnTo>
                <a:lnTo>
                  <a:pt x="1781666" y="269382"/>
                </a:lnTo>
                <a:lnTo>
                  <a:pt x="1785077" y="269382"/>
                </a:lnTo>
                <a:lnTo>
                  <a:pt x="1785077" y="293099"/>
                </a:lnTo>
                <a:lnTo>
                  <a:pt x="1781756" y="293099"/>
                </a:lnTo>
                <a:lnTo>
                  <a:pt x="1781756" y="274705"/>
                </a:lnTo>
                <a:lnTo>
                  <a:pt x="1772929" y="288433"/>
                </a:lnTo>
                <a:lnTo>
                  <a:pt x="1764042" y="274705"/>
                </a:lnTo>
                <a:lnTo>
                  <a:pt x="1764042" y="293099"/>
                </a:lnTo>
                <a:lnTo>
                  <a:pt x="1760720" y="293099"/>
                </a:lnTo>
                <a:close/>
                <a:moveTo>
                  <a:pt x="1748452" y="268963"/>
                </a:moveTo>
                <a:cubicBezTo>
                  <a:pt x="1752163" y="268963"/>
                  <a:pt x="1755155" y="270578"/>
                  <a:pt x="1756591" y="272642"/>
                </a:cubicBezTo>
                <a:lnTo>
                  <a:pt x="1754287" y="274885"/>
                </a:lnTo>
                <a:cubicBezTo>
                  <a:pt x="1753210" y="273359"/>
                  <a:pt x="1750966" y="272073"/>
                  <a:pt x="1748392" y="272073"/>
                </a:cubicBezTo>
                <a:cubicBezTo>
                  <a:pt x="1745550" y="272073"/>
                  <a:pt x="1743754" y="273330"/>
                  <a:pt x="1743754" y="275274"/>
                </a:cubicBezTo>
                <a:cubicBezTo>
                  <a:pt x="1743754" y="280508"/>
                  <a:pt x="1757010" y="278115"/>
                  <a:pt x="1757010" y="286549"/>
                </a:cubicBezTo>
                <a:cubicBezTo>
                  <a:pt x="1757010" y="290736"/>
                  <a:pt x="1753599" y="293547"/>
                  <a:pt x="1748303" y="293547"/>
                </a:cubicBezTo>
                <a:cubicBezTo>
                  <a:pt x="1743844" y="293547"/>
                  <a:pt x="1740972" y="291813"/>
                  <a:pt x="1739326" y="289510"/>
                </a:cubicBezTo>
                <a:lnTo>
                  <a:pt x="1741720" y="287267"/>
                </a:lnTo>
                <a:cubicBezTo>
                  <a:pt x="1743306" y="289330"/>
                  <a:pt x="1745610" y="290407"/>
                  <a:pt x="1748303" y="290407"/>
                </a:cubicBezTo>
                <a:cubicBezTo>
                  <a:pt x="1751564" y="290407"/>
                  <a:pt x="1753419" y="289001"/>
                  <a:pt x="1753419" y="286788"/>
                </a:cubicBezTo>
                <a:cubicBezTo>
                  <a:pt x="1753419" y="281016"/>
                  <a:pt x="1740164" y="283558"/>
                  <a:pt x="1740164" y="275393"/>
                </a:cubicBezTo>
                <a:cubicBezTo>
                  <a:pt x="1740164" y="271565"/>
                  <a:pt x="1743545" y="268963"/>
                  <a:pt x="1748452" y="268963"/>
                </a:cubicBezTo>
                <a:close/>
                <a:moveTo>
                  <a:pt x="1411587" y="134646"/>
                </a:moveTo>
                <a:cubicBezTo>
                  <a:pt x="1380557" y="134646"/>
                  <a:pt x="1357906" y="160217"/>
                  <a:pt x="1357906" y="192488"/>
                </a:cubicBezTo>
                <a:cubicBezTo>
                  <a:pt x="1357906" y="224759"/>
                  <a:pt x="1380557" y="250749"/>
                  <a:pt x="1411587" y="250749"/>
                </a:cubicBezTo>
                <a:cubicBezTo>
                  <a:pt x="1442197" y="250749"/>
                  <a:pt x="1464429" y="224759"/>
                  <a:pt x="1464429" y="192488"/>
                </a:cubicBezTo>
                <a:cubicBezTo>
                  <a:pt x="1464429" y="160217"/>
                  <a:pt x="1442197" y="134646"/>
                  <a:pt x="1411587" y="134646"/>
                </a:cubicBezTo>
                <a:close/>
                <a:moveTo>
                  <a:pt x="742014" y="134646"/>
                </a:moveTo>
                <a:cubicBezTo>
                  <a:pt x="710985" y="134646"/>
                  <a:pt x="688334" y="160217"/>
                  <a:pt x="688334" y="192488"/>
                </a:cubicBezTo>
                <a:cubicBezTo>
                  <a:pt x="688334" y="224759"/>
                  <a:pt x="710985" y="250749"/>
                  <a:pt x="742014" y="250749"/>
                </a:cubicBezTo>
                <a:cubicBezTo>
                  <a:pt x="772625" y="250749"/>
                  <a:pt x="794857" y="224759"/>
                  <a:pt x="794857" y="192488"/>
                </a:cubicBezTo>
                <a:cubicBezTo>
                  <a:pt x="794857" y="160217"/>
                  <a:pt x="772625" y="134646"/>
                  <a:pt x="742014" y="134646"/>
                </a:cubicBezTo>
                <a:close/>
                <a:moveTo>
                  <a:pt x="1110987" y="130070"/>
                </a:moveTo>
                <a:cubicBezTo>
                  <a:pt x="1085373" y="130040"/>
                  <a:pt x="1067779" y="147656"/>
                  <a:pt x="1061914" y="173227"/>
                </a:cubicBezTo>
                <a:lnTo>
                  <a:pt x="1158773" y="173227"/>
                </a:lnTo>
                <a:cubicBezTo>
                  <a:pt x="1152908" y="144725"/>
                  <a:pt x="1134865" y="130070"/>
                  <a:pt x="1110987" y="130070"/>
                </a:cubicBezTo>
                <a:close/>
                <a:moveTo>
                  <a:pt x="733636" y="86494"/>
                </a:moveTo>
                <a:cubicBezTo>
                  <a:pt x="760057" y="86494"/>
                  <a:pt x="780584" y="96124"/>
                  <a:pt x="794857" y="112484"/>
                </a:cubicBezTo>
                <a:lnTo>
                  <a:pt x="794857" y="92356"/>
                </a:lnTo>
                <a:lnTo>
                  <a:pt x="846443" y="92356"/>
                </a:lnTo>
                <a:lnTo>
                  <a:pt x="846443" y="293099"/>
                </a:lnTo>
                <a:lnTo>
                  <a:pt x="794857" y="293099"/>
                </a:lnTo>
                <a:lnTo>
                  <a:pt x="794857" y="271296"/>
                </a:lnTo>
                <a:cubicBezTo>
                  <a:pt x="780195" y="288493"/>
                  <a:pt x="759639" y="298961"/>
                  <a:pt x="733636" y="298961"/>
                </a:cubicBezTo>
                <a:cubicBezTo>
                  <a:pt x="680374" y="298961"/>
                  <a:pt x="637196" y="255385"/>
                  <a:pt x="637196" y="192937"/>
                </a:cubicBezTo>
                <a:cubicBezTo>
                  <a:pt x="637196" y="132164"/>
                  <a:pt x="677861" y="86494"/>
                  <a:pt x="733636" y="86494"/>
                </a:cubicBezTo>
                <a:close/>
                <a:moveTo>
                  <a:pt x="555628" y="86494"/>
                </a:moveTo>
                <a:cubicBezTo>
                  <a:pt x="590009" y="86494"/>
                  <a:pt x="617268" y="98218"/>
                  <a:pt x="634862" y="116671"/>
                </a:cubicBezTo>
                <a:lnTo>
                  <a:pt x="605509" y="153129"/>
                </a:lnTo>
                <a:cubicBezTo>
                  <a:pt x="592941" y="140957"/>
                  <a:pt x="577860" y="134676"/>
                  <a:pt x="558141" y="134676"/>
                </a:cubicBezTo>
                <a:cubicBezTo>
                  <a:pt x="524599" y="134676"/>
                  <a:pt x="501947" y="160247"/>
                  <a:pt x="501947" y="192518"/>
                </a:cubicBezTo>
                <a:cubicBezTo>
                  <a:pt x="501947" y="224789"/>
                  <a:pt x="525017" y="250779"/>
                  <a:pt x="557723" y="250779"/>
                </a:cubicBezTo>
                <a:cubicBezTo>
                  <a:pt x="578279" y="250779"/>
                  <a:pt x="594617" y="243661"/>
                  <a:pt x="607184" y="231070"/>
                </a:cubicBezTo>
                <a:lnTo>
                  <a:pt x="633187" y="268784"/>
                </a:lnTo>
                <a:cubicBezTo>
                  <a:pt x="617238" y="286370"/>
                  <a:pt x="588333" y="298961"/>
                  <a:pt x="556466" y="298961"/>
                </a:cubicBezTo>
                <a:cubicBezTo>
                  <a:pt x="496920" y="298961"/>
                  <a:pt x="450810" y="251198"/>
                  <a:pt x="450810" y="192937"/>
                </a:cubicBezTo>
                <a:cubicBezTo>
                  <a:pt x="450810" y="134257"/>
                  <a:pt x="496920" y="86494"/>
                  <a:pt x="555628" y="86494"/>
                </a:cubicBezTo>
                <a:close/>
                <a:moveTo>
                  <a:pt x="1647225" y="86464"/>
                </a:moveTo>
                <a:cubicBezTo>
                  <a:pt x="1693754" y="86464"/>
                  <a:pt x="1723527" y="119154"/>
                  <a:pt x="1723527" y="171553"/>
                </a:cubicBezTo>
                <a:lnTo>
                  <a:pt x="1723527" y="293099"/>
                </a:lnTo>
                <a:lnTo>
                  <a:pt x="1672360" y="293099"/>
                </a:lnTo>
                <a:lnTo>
                  <a:pt x="1672360" y="179089"/>
                </a:lnTo>
                <a:cubicBezTo>
                  <a:pt x="1672360" y="151843"/>
                  <a:pt x="1656411" y="134676"/>
                  <a:pt x="1631695" y="134676"/>
                </a:cubicBezTo>
                <a:cubicBezTo>
                  <a:pt x="1606112" y="134676"/>
                  <a:pt x="1590612" y="151843"/>
                  <a:pt x="1590612" y="179089"/>
                </a:cubicBezTo>
                <a:lnTo>
                  <a:pt x="1590612" y="293069"/>
                </a:lnTo>
                <a:lnTo>
                  <a:pt x="1539445" y="293069"/>
                </a:lnTo>
                <a:lnTo>
                  <a:pt x="1539445" y="92326"/>
                </a:lnTo>
                <a:lnTo>
                  <a:pt x="1590612" y="92326"/>
                </a:lnTo>
                <a:lnTo>
                  <a:pt x="1590612" y="112035"/>
                </a:lnTo>
                <a:cubicBezTo>
                  <a:pt x="1603179" y="95676"/>
                  <a:pt x="1622479" y="86464"/>
                  <a:pt x="1647225" y="86464"/>
                </a:cubicBezTo>
                <a:close/>
                <a:moveTo>
                  <a:pt x="1411168" y="86464"/>
                </a:moveTo>
                <a:cubicBezTo>
                  <a:pt x="1469456" y="86464"/>
                  <a:pt x="1515986" y="134227"/>
                  <a:pt x="1515986" y="192907"/>
                </a:cubicBezTo>
                <a:cubicBezTo>
                  <a:pt x="1515986" y="251168"/>
                  <a:pt x="1469456" y="298931"/>
                  <a:pt x="1411168" y="298931"/>
                </a:cubicBezTo>
                <a:cubicBezTo>
                  <a:pt x="1352879" y="298961"/>
                  <a:pt x="1306769" y="251168"/>
                  <a:pt x="1306769" y="192907"/>
                </a:cubicBezTo>
                <a:cubicBezTo>
                  <a:pt x="1306769" y="134227"/>
                  <a:pt x="1352879" y="86464"/>
                  <a:pt x="1411168" y="86464"/>
                </a:cubicBezTo>
                <a:close/>
                <a:moveTo>
                  <a:pt x="1110119" y="86464"/>
                </a:moveTo>
                <a:cubicBezTo>
                  <a:pt x="1167570" y="86464"/>
                  <a:pt x="1211167" y="130878"/>
                  <a:pt x="1211167" y="188720"/>
                </a:cubicBezTo>
                <a:cubicBezTo>
                  <a:pt x="1211167" y="195001"/>
                  <a:pt x="1210748" y="202119"/>
                  <a:pt x="1209910" y="205468"/>
                </a:cubicBezTo>
                <a:lnTo>
                  <a:pt x="1061046" y="205468"/>
                </a:lnTo>
                <a:cubicBezTo>
                  <a:pt x="1066073" y="233552"/>
                  <a:pt x="1087468" y="253680"/>
                  <a:pt x="1118497" y="253680"/>
                </a:cubicBezTo>
                <a:cubicBezTo>
                  <a:pt x="1138635" y="253680"/>
                  <a:pt x="1155810" y="244887"/>
                  <a:pt x="1167570" y="232715"/>
                </a:cubicBezTo>
                <a:lnTo>
                  <a:pt x="1193991" y="267498"/>
                </a:lnTo>
                <a:cubicBezTo>
                  <a:pt x="1178910" y="285084"/>
                  <a:pt x="1150394" y="298931"/>
                  <a:pt x="1116433" y="298931"/>
                </a:cubicBezTo>
                <a:cubicBezTo>
                  <a:pt x="1053925" y="298961"/>
                  <a:pt x="1008652" y="251168"/>
                  <a:pt x="1008652" y="192907"/>
                </a:cubicBezTo>
                <a:cubicBezTo>
                  <a:pt x="1008652" y="134227"/>
                  <a:pt x="1052249" y="86464"/>
                  <a:pt x="1110119" y="86464"/>
                </a:cubicBezTo>
                <a:close/>
                <a:moveTo>
                  <a:pt x="983518" y="86464"/>
                </a:moveTo>
                <a:cubicBezTo>
                  <a:pt x="996923" y="86464"/>
                  <a:pt x="1007844" y="90232"/>
                  <a:pt x="1015804" y="96513"/>
                </a:cubicBezTo>
                <a:lnTo>
                  <a:pt x="994409" y="145144"/>
                </a:lnTo>
                <a:cubicBezTo>
                  <a:pt x="987707" y="139700"/>
                  <a:pt x="977623" y="136351"/>
                  <a:pt x="967988" y="136351"/>
                </a:cubicBezTo>
                <a:cubicBezTo>
                  <a:pt x="947431" y="136351"/>
                  <a:pt x="934445" y="153548"/>
                  <a:pt x="934445" y="180764"/>
                </a:cubicBezTo>
                <a:lnTo>
                  <a:pt x="934445" y="293069"/>
                </a:lnTo>
                <a:lnTo>
                  <a:pt x="883278" y="293069"/>
                </a:lnTo>
                <a:lnTo>
                  <a:pt x="883278" y="92326"/>
                </a:lnTo>
                <a:lnTo>
                  <a:pt x="934445" y="92326"/>
                </a:lnTo>
                <a:lnTo>
                  <a:pt x="934445" y="114129"/>
                </a:lnTo>
                <a:cubicBezTo>
                  <a:pt x="945756" y="97351"/>
                  <a:pt x="962542" y="86464"/>
                  <a:pt x="983518" y="86464"/>
                </a:cubicBezTo>
                <a:close/>
                <a:moveTo>
                  <a:pt x="289840" y="38556"/>
                </a:moveTo>
                <a:cubicBezTo>
                  <a:pt x="268622" y="39645"/>
                  <a:pt x="249103" y="53154"/>
                  <a:pt x="241383" y="74352"/>
                </a:cubicBezTo>
                <a:cubicBezTo>
                  <a:pt x="235129" y="91489"/>
                  <a:pt x="238062" y="109763"/>
                  <a:pt x="247637" y="123760"/>
                </a:cubicBezTo>
                <a:lnTo>
                  <a:pt x="192849" y="146131"/>
                </a:lnTo>
                <a:lnTo>
                  <a:pt x="138151" y="123610"/>
                </a:lnTo>
                <a:cubicBezTo>
                  <a:pt x="140635" y="119962"/>
                  <a:pt x="142699" y="115924"/>
                  <a:pt x="144285" y="111587"/>
                </a:cubicBezTo>
                <a:lnTo>
                  <a:pt x="147574" y="93063"/>
                </a:lnTo>
                <a:lnTo>
                  <a:pt x="137965" y="62101"/>
                </a:lnTo>
                <a:cubicBezTo>
                  <a:pt x="131763" y="53072"/>
                  <a:pt x="122787" y="45819"/>
                  <a:pt x="111700" y="41782"/>
                </a:cubicBezTo>
                <a:cubicBezTo>
                  <a:pt x="104624" y="39210"/>
                  <a:pt x="97362" y="38193"/>
                  <a:pt x="90289" y="38556"/>
                </a:cubicBezTo>
                <a:cubicBezTo>
                  <a:pt x="69070" y="39645"/>
                  <a:pt x="49552" y="53154"/>
                  <a:pt x="41831" y="74352"/>
                </a:cubicBezTo>
                <a:cubicBezTo>
                  <a:pt x="31538" y="102645"/>
                  <a:pt x="46140" y="133899"/>
                  <a:pt x="74417" y="144187"/>
                </a:cubicBezTo>
                <a:cubicBezTo>
                  <a:pt x="91562" y="150438"/>
                  <a:pt x="109845" y="147507"/>
                  <a:pt x="123849" y="137936"/>
                </a:cubicBezTo>
                <a:lnTo>
                  <a:pt x="146231" y="192668"/>
                </a:lnTo>
                <a:lnTo>
                  <a:pt x="123699" y="247340"/>
                </a:lnTo>
                <a:cubicBezTo>
                  <a:pt x="120048" y="244858"/>
                  <a:pt x="116009" y="242794"/>
                  <a:pt x="111670" y="241209"/>
                </a:cubicBezTo>
                <a:cubicBezTo>
                  <a:pt x="105536" y="238996"/>
                  <a:pt x="99282" y="237919"/>
                  <a:pt x="93118" y="237919"/>
                </a:cubicBezTo>
                <a:lnTo>
                  <a:pt x="93128" y="237895"/>
                </a:lnTo>
                <a:lnTo>
                  <a:pt x="62160" y="247497"/>
                </a:lnTo>
                <a:cubicBezTo>
                  <a:pt x="53127" y="253696"/>
                  <a:pt x="45871" y="262668"/>
                  <a:pt x="41831" y="273749"/>
                </a:cubicBezTo>
                <a:cubicBezTo>
                  <a:pt x="31538" y="302042"/>
                  <a:pt x="46140" y="333296"/>
                  <a:pt x="74417" y="343584"/>
                </a:cubicBezTo>
                <a:cubicBezTo>
                  <a:pt x="102723" y="353872"/>
                  <a:pt x="133992" y="339277"/>
                  <a:pt x="144286" y="311014"/>
                </a:cubicBezTo>
                <a:cubicBezTo>
                  <a:pt x="150539" y="293877"/>
                  <a:pt x="147607" y="275603"/>
                  <a:pt x="138032" y="261606"/>
                </a:cubicBezTo>
                <a:lnTo>
                  <a:pt x="192820" y="239235"/>
                </a:lnTo>
                <a:lnTo>
                  <a:pt x="247458" y="261785"/>
                </a:lnTo>
                <a:cubicBezTo>
                  <a:pt x="244974" y="265434"/>
                  <a:pt x="242910" y="269472"/>
                  <a:pt x="241324" y="273808"/>
                </a:cubicBezTo>
                <a:lnTo>
                  <a:pt x="238035" y="292332"/>
                </a:lnTo>
                <a:lnTo>
                  <a:pt x="247644" y="323295"/>
                </a:lnTo>
                <a:cubicBezTo>
                  <a:pt x="253846" y="332324"/>
                  <a:pt x="262823" y="339577"/>
                  <a:pt x="273909" y="343614"/>
                </a:cubicBezTo>
                <a:cubicBezTo>
                  <a:pt x="302215" y="353902"/>
                  <a:pt x="333484" y="339307"/>
                  <a:pt x="343778" y="311044"/>
                </a:cubicBezTo>
                <a:cubicBezTo>
                  <a:pt x="354071" y="282751"/>
                  <a:pt x="339469" y="251497"/>
                  <a:pt x="311192" y="241208"/>
                </a:cubicBezTo>
                <a:cubicBezTo>
                  <a:pt x="294047" y="234958"/>
                  <a:pt x="275764" y="237889"/>
                  <a:pt x="261760" y="247459"/>
                </a:cubicBezTo>
                <a:lnTo>
                  <a:pt x="239379" y="192697"/>
                </a:lnTo>
                <a:lnTo>
                  <a:pt x="261940" y="138115"/>
                </a:lnTo>
                <a:cubicBezTo>
                  <a:pt x="265591" y="140597"/>
                  <a:pt x="269630" y="142661"/>
                  <a:pt x="273969" y="144246"/>
                </a:cubicBezTo>
                <a:lnTo>
                  <a:pt x="292497" y="147532"/>
                </a:lnTo>
                <a:lnTo>
                  <a:pt x="292520" y="147477"/>
                </a:lnTo>
                <a:cubicBezTo>
                  <a:pt x="314813" y="147507"/>
                  <a:pt x="335758" y="133779"/>
                  <a:pt x="343837" y="111617"/>
                </a:cubicBezTo>
                <a:cubicBezTo>
                  <a:pt x="354130" y="83324"/>
                  <a:pt x="339528" y="52070"/>
                  <a:pt x="311252" y="41782"/>
                </a:cubicBezTo>
                <a:cubicBezTo>
                  <a:pt x="304175" y="39210"/>
                  <a:pt x="296913" y="38193"/>
                  <a:pt x="289840" y="38556"/>
                </a:cubicBezTo>
                <a:close/>
                <a:moveTo>
                  <a:pt x="1232142" y="4755"/>
                </a:moveTo>
                <a:lnTo>
                  <a:pt x="1283310" y="4755"/>
                </a:lnTo>
                <a:lnTo>
                  <a:pt x="1283310" y="293099"/>
                </a:lnTo>
                <a:lnTo>
                  <a:pt x="1232142" y="293099"/>
                </a:lnTo>
                <a:lnTo>
                  <a:pt x="1232142" y="156868"/>
                </a:lnTo>
                <a:close/>
                <a:moveTo>
                  <a:pt x="93029" y="0"/>
                </a:moveTo>
                <a:cubicBezTo>
                  <a:pt x="144435" y="0"/>
                  <a:pt x="186087" y="41632"/>
                  <a:pt x="186087" y="92984"/>
                </a:cubicBezTo>
                <a:lnTo>
                  <a:pt x="184801" y="108375"/>
                </a:lnTo>
                <a:lnTo>
                  <a:pt x="192819" y="111677"/>
                </a:lnTo>
                <a:lnTo>
                  <a:pt x="200808" y="108387"/>
                </a:lnTo>
                <a:cubicBezTo>
                  <a:pt x="200000" y="103751"/>
                  <a:pt x="199552" y="97859"/>
                  <a:pt x="199552" y="92984"/>
                </a:cubicBezTo>
                <a:cubicBezTo>
                  <a:pt x="199552" y="41632"/>
                  <a:pt x="241204" y="0"/>
                  <a:pt x="292580" y="0"/>
                </a:cubicBezTo>
                <a:cubicBezTo>
                  <a:pt x="343957" y="0"/>
                  <a:pt x="385609" y="41632"/>
                  <a:pt x="385609" y="92984"/>
                </a:cubicBezTo>
                <a:cubicBezTo>
                  <a:pt x="385609" y="144337"/>
                  <a:pt x="343957" y="185969"/>
                  <a:pt x="292580" y="185969"/>
                </a:cubicBezTo>
                <a:lnTo>
                  <a:pt x="277196" y="184685"/>
                </a:lnTo>
                <a:lnTo>
                  <a:pt x="273879" y="192727"/>
                </a:lnTo>
                <a:lnTo>
                  <a:pt x="277170" y="200713"/>
                </a:lnTo>
                <a:cubicBezTo>
                  <a:pt x="281868" y="199875"/>
                  <a:pt x="287703" y="199427"/>
                  <a:pt x="292580" y="199427"/>
                </a:cubicBezTo>
                <a:cubicBezTo>
                  <a:pt x="343957" y="199427"/>
                  <a:pt x="385579" y="241059"/>
                  <a:pt x="385579" y="292411"/>
                </a:cubicBezTo>
                <a:cubicBezTo>
                  <a:pt x="385579" y="343763"/>
                  <a:pt x="343927" y="385395"/>
                  <a:pt x="292551" y="385395"/>
                </a:cubicBezTo>
                <a:cubicBezTo>
                  <a:pt x="241174" y="385395"/>
                  <a:pt x="199522" y="343763"/>
                  <a:pt x="199522" y="292411"/>
                </a:cubicBezTo>
                <a:lnTo>
                  <a:pt x="200808" y="277021"/>
                </a:lnTo>
                <a:lnTo>
                  <a:pt x="192790" y="273719"/>
                </a:lnTo>
                <a:lnTo>
                  <a:pt x="184770" y="277009"/>
                </a:lnTo>
                <a:cubicBezTo>
                  <a:pt x="185638" y="281913"/>
                  <a:pt x="186057" y="287536"/>
                  <a:pt x="186057" y="292411"/>
                </a:cubicBezTo>
                <a:cubicBezTo>
                  <a:pt x="186057" y="343763"/>
                  <a:pt x="144405" y="385396"/>
                  <a:pt x="93029" y="385396"/>
                </a:cubicBezTo>
                <a:cubicBezTo>
                  <a:pt x="41652" y="385396"/>
                  <a:pt x="0" y="343763"/>
                  <a:pt x="0" y="292411"/>
                </a:cubicBezTo>
                <a:cubicBezTo>
                  <a:pt x="0" y="241059"/>
                  <a:pt x="41652" y="199427"/>
                  <a:pt x="93058" y="199367"/>
                </a:cubicBezTo>
                <a:lnTo>
                  <a:pt x="108458" y="200682"/>
                </a:lnTo>
                <a:lnTo>
                  <a:pt x="111760" y="192668"/>
                </a:lnTo>
                <a:lnTo>
                  <a:pt x="108439" y="184713"/>
                </a:lnTo>
                <a:cubicBezTo>
                  <a:pt x="103801" y="185520"/>
                  <a:pt x="97906" y="185939"/>
                  <a:pt x="93029" y="185939"/>
                </a:cubicBezTo>
                <a:cubicBezTo>
                  <a:pt x="41652" y="185939"/>
                  <a:pt x="0" y="144337"/>
                  <a:pt x="0" y="92984"/>
                </a:cubicBezTo>
                <a:cubicBezTo>
                  <a:pt x="0" y="41632"/>
                  <a:pt x="41652" y="0"/>
                  <a:pt x="93029" y="0"/>
                </a:cubicBezTo>
                <a:close/>
              </a:path>
            </a:pathLst>
          </a:custGeom>
          <a:solidFill>
            <a:schemeClr val="bg1"/>
          </a:solidFill>
        </p:spPr>
        <p:txBody>
          <a:bodyPr wrap="square">
            <a:noAutofit/>
          </a:bodyPr>
          <a:lstStyle>
            <a:lvl1pPr>
              <a:defRPr sz="100">
                <a:solidFill>
                  <a:schemeClr val="tx2">
                    <a:alpha val="0"/>
                  </a:schemeClr>
                </a:solidFill>
              </a:defRPr>
            </a:lvl1pPr>
            <a:lvl2pPr>
              <a:defRPr sz="100">
                <a:solidFill>
                  <a:schemeClr val="tx2">
                    <a:alpha val="0"/>
                  </a:schemeClr>
                </a:solidFill>
              </a:defRPr>
            </a:lvl2pPr>
            <a:lvl3pPr>
              <a:defRPr sz="100">
                <a:solidFill>
                  <a:schemeClr val="tx2">
                    <a:alpha val="0"/>
                  </a:schemeClr>
                </a:solidFill>
              </a:defRPr>
            </a:lvl3pPr>
            <a:lvl4pPr>
              <a:defRPr sz="100">
                <a:solidFill>
                  <a:schemeClr val="tx2">
                    <a:alpha val="0"/>
                  </a:schemeClr>
                </a:solidFill>
              </a:defRPr>
            </a:lvl4pPr>
            <a:lvl5pPr>
              <a:defRPr sz="100">
                <a:solidFill>
                  <a:schemeClr val="tx2">
                    <a:alpha val="0"/>
                  </a:schemeClr>
                </a:solidFill>
              </a:defRPr>
            </a:lvl5pPr>
          </a:lstStyle>
          <a:p>
            <a:pPr lvl="0"/>
            <a:r>
              <a:rPr lang="en-US"/>
              <a:t>Click to edit Master text styles</a:t>
            </a:r>
          </a:p>
        </p:txBody>
      </p:sp>
    </p:spTree>
    <p:extLst>
      <p:ext uri="{BB962C8B-B14F-4D97-AF65-F5344CB8AC3E}">
        <p14:creationId xmlns:p14="http://schemas.microsoft.com/office/powerpoint/2010/main" val="29723076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23114C3-EDAA-984F-A7E5-1E563968A441}"/>
              </a:ext>
            </a:extLst>
          </p:cNvPr>
          <p:cNvSpPr>
            <a:spLocks noGrp="1"/>
          </p:cNvSpPr>
          <p:nvPr>
            <p:ph type="pic" sz="quarter" idx="10"/>
          </p:nvPr>
        </p:nvSpPr>
        <p:spPr>
          <a:xfrm>
            <a:off x="0" y="0"/>
            <a:ext cx="12192000" cy="3441700"/>
          </a:xfrm>
          <a:solidFill>
            <a:schemeClr val="bg1">
              <a:lumMod val="95000"/>
            </a:schemeClr>
          </a:solidFill>
        </p:spPr>
        <p:txBody>
          <a:bodyPr/>
          <a:lstStyle>
            <a:lvl1pPr marL="0" indent="0">
              <a:buNone/>
              <a:defRPr sz="1200"/>
            </a:lvl1pPr>
          </a:lstStyle>
          <a:p>
            <a:r>
              <a:rPr lang="en-US"/>
              <a:t>Click icon to add picture</a:t>
            </a:r>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876609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B6E5172-0EAF-9541-B6B0-E49938BC848D}"/>
              </a:ext>
            </a:extLst>
          </p:cNvPr>
          <p:cNvSpPr>
            <a:spLocks noGrp="1"/>
          </p:cNvSpPr>
          <p:nvPr>
            <p:ph type="ctrTitle" hasCustomPrompt="1"/>
          </p:nvPr>
        </p:nvSpPr>
        <p:spPr>
          <a:xfrm>
            <a:off x="457198" y="3759716"/>
            <a:ext cx="9366251" cy="622714"/>
          </a:xfrm>
        </p:spPr>
        <p:txBody>
          <a:bodyPr vert="horz" anchor="t"/>
          <a:lstStyle>
            <a:lvl1pPr algn="l">
              <a:defRPr sz="5000">
                <a:solidFill>
                  <a:schemeClr val="tx1"/>
                </a:solidFill>
              </a:defRPr>
            </a:lvl1pPr>
          </a:lstStyle>
          <a:p>
            <a:r>
              <a:rPr lang="en-US"/>
              <a:t>Click to add presentation title</a:t>
            </a:r>
          </a:p>
        </p:txBody>
      </p:sp>
      <p:sp>
        <p:nvSpPr>
          <p:cNvPr id="11" name="Subtitle 2">
            <a:extLst>
              <a:ext uri="{FF2B5EF4-FFF2-40B4-BE49-F238E27FC236}">
                <a16:creationId xmlns:a16="http://schemas.microsoft.com/office/drawing/2014/main" id="{E3B28E96-F998-4145-AFD3-BC0901E28925}"/>
              </a:ext>
            </a:extLst>
          </p:cNvPr>
          <p:cNvSpPr>
            <a:spLocks noGrp="1"/>
          </p:cNvSpPr>
          <p:nvPr>
            <p:ph type="subTitle" idx="1" hasCustomPrompt="1"/>
          </p:nvPr>
        </p:nvSpPr>
        <p:spPr>
          <a:xfrm>
            <a:off x="457198" y="5143500"/>
            <a:ext cx="5638800" cy="228600"/>
          </a:xfrm>
        </p:spPr>
        <p:txBody>
          <a:bodyPr/>
          <a:lstStyle>
            <a:lvl1pPr marL="0" indent="0" algn="l">
              <a:buNone/>
              <a:defRPr sz="18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7" name="Text Placeholder 11">
            <a:extLst>
              <a:ext uri="{FF2B5EF4-FFF2-40B4-BE49-F238E27FC236}">
                <a16:creationId xmlns:a16="http://schemas.microsoft.com/office/drawing/2014/main" id="{5BCB3DBE-7952-BD46-A5A1-E42AA39DD513}"/>
              </a:ext>
            </a:extLst>
          </p:cNvPr>
          <p:cNvSpPr>
            <a:spLocks noGrp="1"/>
          </p:cNvSpPr>
          <p:nvPr>
            <p:ph type="body" sz="quarter" idx="11" hasCustomPrompt="1"/>
          </p:nvPr>
        </p:nvSpPr>
        <p:spPr>
          <a:xfrm>
            <a:off x="457198" y="5385850"/>
            <a:ext cx="5638800" cy="224536"/>
          </a:xfrm>
        </p:spPr>
        <p:txBody>
          <a:bodyPr vert="horz" lIns="0" tIns="0" rIns="0" bIns="0" rtlCol="0">
            <a:noAutofit/>
          </a:bodyPr>
          <a:lstStyle>
            <a:lvl1pPr>
              <a:defRPr lang="en-US" sz="1800" b="0" i="0" dirty="0">
                <a:latin typeface="Elevance Sans" pitchFamily="2" charset="77"/>
              </a:defRPr>
            </a:lvl1pPr>
          </a:lstStyle>
          <a:p>
            <a:pPr lvl="0"/>
            <a:r>
              <a:rPr lang="en-US"/>
              <a:t>Click to add date</a:t>
            </a:r>
          </a:p>
        </p:txBody>
      </p:sp>
      <p:pic>
        <p:nvPicPr>
          <p:cNvPr id="2" name="Graphic 1">
            <a:extLst>
              <a:ext uri="{FF2B5EF4-FFF2-40B4-BE49-F238E27FC236}">
                <a16:creationId xmlns:a16="http://schemas.microsoft.com/office/drawing/2014/main" id="{1EBA191B-5B26-1325-A418-51812774C9F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6061" y="6156161"/>
            <a:ext cx="1786364" cy="463576"/>
          </a:xfrm>
          <a:prstGeom prst="rect">
            <a:avLst/>
          </a:prstGeom>
        </p:spPr>
      </p:pic>
    </p:spTree>
    <p:extLst>
      <p:ext uri="{BB962C8B-B14F-4D97-AF65-F5344CB8AC3E}">
        <p14:creationId xmlns:p14="http://schemas.microsoft.com/office/powerpoint/2010/main" val="6568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200" y="1694048"/>
            <a:ext cx="11292840" cy="4313052"/>
          </a:xfrm>
        </p:spPr>
        <p:txBody>
          <a:bodyPr vert="horz" lIns="0" tIns="0" rIns="0" bIns="0" rtlCol="0">
            <a:noAutofit/>
          </a:bodyPr>
          <a:lstStyle>
            <a:lvl1pPr>
              <a:defRPr lang="en-US" dirty="0"/>
            </a:lvl1pPr>
            <a:lvl2pPr>
              <a:defRPr lang="en-US" b="0" i="0" dirty="0">
                <a:latin typeface="Elevance Sans" pitchFamily="2" charset="77"/>
              </a:defRPr>
            </a:lvl2pPr>
            <a:lvl3pPr>
              <a:defRPr lang="en-US" b="0" i="0" dirty="0">
                <a:latin typeface="Elevance Sans" pitchFamily="2" charset="77"/>
              </a:defRPr>
            </a:lvl3pPr>
            <a:lvl4pPr>
              <a:defRPr lang="en-US" b="0" i="0" dirty="0">
                <a:latin typeface="Elevance Sans" pitchFamily="2" charset="77"/>
              </a:defRPr>
            </a:lvl4pPr>
            <a:lvl5pPr>
              <a:defRPr lang="en-US" b="0" i="0" dirty="0">
                <a:latin typeface="Elevance Sans" pitchFamily="2" charset="77"/>
              </a:defRPr>
            </a:lvl5pPr>
            <a:lvl6pPr>
              <a:defRPr b="0" i="0">
                <a:latin typeface="Elevance Sans" pitchFamily="2"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Elevance Sans" pitchFamily="2" charset="77"/>
              </a:rPr>
              <a:pPr algn="r"/>
              <a:t>‹#›</a:t>
            </a:fld>
            <a:endParaRPr lang="en-US" sz="900" b="0" i="0">
              <a:solidFill>
                <a:schemeClr val="tx2"/>
              </a:solidFill>
              <a:latin typeface="Elevance Sans" pitchFamily="2" charset="77"/>
            </a:endParaRPr>
          </a:p>
        </p:txBody>
      </p:sp>
      <p:sp>
        <p:nvSpPr>
          <p:cNvPr id="9" name="Text Placeholder 3">
            <a:extLst>
              <a:ext uri="{FF2B5EF4-FFF2-40B4-BE49-F238E27FC236}">
                <a16:creationId xmlns:a16="http://schemas.microsoft.com/office/drawing/2014/main" id="{D7C05061-C65B-D940-4DD8-5F7D98664047}"/>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b="0" i="0">
                <a:latin typeface="Elevance Sans"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39967442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50"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46"/>
            </p:custDataLst>
            <p:extLst>
              <p:ext uri="{D42A27DB-BD31-4B8C-83A1-F6EECF244321}">
                <p14:modId xmlns:p14="http://schemas.microsoft.com/office/powerpoint/2010/main" val="36102931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48"/>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384048"/>
            <a:ext cx="11274552" cy="82296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Box 25">
            <a:extLst>
              <a:ext uri="{FF2B5EF4-FFF2-40B4-BE49-F238E27FC236}">
                <a16:creationId xmlns:a16="http://schemas.microsoft.com/office/drawing/2014/main" id="{ED412B9A-E70E-6449-8DEF-3E56B12E4331}"/>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Elevance Sans" pitchFamily="2" charset="77"/>
              </a:rPr>
              <a:pPr algn="r"/>
              <a:t>‹#›</a:t>
            </a:fld>
            <a:endParaRPr lang="en-US" sz="900" b="0" i="0">
              <a:solidFill>
                <a:schemeClr val="tx2"/>
              </a:solidFill>
              <a:latin typeface="Elevance Sans" pitchFamily="2" charset="77"/>
            </a:endParaRPr>
          </a:p>
        </p:txBody>
      </p:sp>
      <p:pic>
        <p:nvPicPr>
          <p:cNvPr id="5" name="Graphic 4">
            <a:extLst>
              <a:ext uri="{FF2B5EF4-FFF2-40B4-BE49-F238E27FC236}">
                <a16:creationId xmlns:a16="http://schemas.microsoft.com/office/drawing/2014/main" id="{57BC2DB0-7F5A-4142-B10E-47FE768EB3DC}"/>
              </a:ext>
            </a:extLst>
          </p:cNvPr>
          <p:cNvPicPr>
            <a:picLocks noChangeAspect="1"/>
          </p:cNvPicPr>
          <p:nvPr/>
        </p:nvPicPr>
        <p:blipFill>
          <a:blip r:embed="rId49" cstate="screen">
            <a:extLst>
              <a:ext uri="{28A0092B-C50C-407E-A947-70E740481C1C}">
                <a14:useLocalDpi xmlns:a14="http://schemas.microsoft.com/office/drawing/2010/main"/>
              </a:ext>
              <a:ext uri="{96DAC541-7B7A-43D3-8B79-37D633B846F1}">
                <asvg:svgBlip xmlns:asvg="http://schemas.microsoft.com/office/drawing/2016/SVG/main" r:embed="rId50"/>
              </a:ext>
            </a:extLst>
          </a:blip>
          <a:stretch>
            <a:fillRect/>
          </a:stretch>
        </p:blipFill>
        <p:spPr>
          <a:xfrm>
            <a:off x="457199" y="6181343"/>
            <a:ext cx="365760" cy="365760"/>
          </a:xfrm>
          <a:prstGeom prst="rect">
            <a:avLst/>
          </a:prstGeom>
        </p:spPr>
      </p:pic>
    </p:spTree>
    <p:extLst>
      <p:ext uri="{BB962C8B-B14F-4D97-AF65-F5344CB8AC3E}">
        <p14:creationId xmlns:p14="http://schemas.microsoft.com/office/powerpoint/2010/main" val="64630813"/>
      </p:ext>
    </p:extLst>
  </p:cSld>
  <p:clrMap bg1="lt1" tx1="dk1" bg2="lt2" tx2="dk2" accent1="accent1" accent2="accent2" accent3="accent3" accent4="accent4" accent5="accent5" accent6="accent6" hlink="hlink" folHlink="folHlink"/>
  <p:sldLayoutIdLst>
    <p:sldLayoutId id="2147483697" r:id="rId1"/>
    <p:sldLayoutId id="2147483662" r:id="rId2"/>
    <p:sldLayoutId id="2147483663" r:id="rId3"/>
    <p:sldLayoutId id="2147483699" r:id="rId4"/>
    <p:sldLayoutId id="2147483700" r:id="rId5"/>
    <p:sldLayoutId id="2147483701"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94" r:id="rId15"/>
    <p:sldLayoutId id="2147483695" r:id="rId16"/>
    <p:sldLayoutId id="2147483696" r:id="rId17"/>
    <p:sldLayoutId id="2147483672" r:id="rId18"/>
    <p:sldLayoutId id="2147483673" r:id="rId19"/>
    <p:sldLayoutId id="2147483674" r:id="rId20"/>
    <p:sldLayoutId id="2147483675" r:id="rId21"/>
    <p:sldLayoutId id="2147483676" r:id="rId22"/>
    <p:sldLayoutId id="2147483677" r:id="rId23"/>
    <p:sldLayoutId id="2147483678" r:id="rId24"/>
    <p:sldLayoutId id="2147483703" r:id="rId25"/>
    <p:sldLayoutId id="2147483679" r:id="rId26"/>
    <p:sldLayoutId id="2147483680" r:id="rId27"/>
    <p:sldLayoutId id="2147483681" r:id="rId28"/>
    <p:sldLayoutId id="2147483682" r:id="rId29"/>
    <p:sldLayoutId id="2147483683" r:id="rId30"/>
    <p:sldLayoutId id="2147483684" r:id="rId31"/>
    <p:sldLayoutId id="2147483685" r:id="rId32"/>
    <p:sldLayoutId id="2147483686" r:id="rId33"/>
    <p:sldLayoutId id="2147483687" r:id="rId34"/>
    <p:sldLayoutId id="2147483688" r:id="rId35"/>
    <p:sldLayoutId id="2147483689" r:id="rId36"/>
    <p:sldLayoutId id="2147483704" r:id="rId37"/>
    <p:sldLayoutId id="2147483693" r:id="rId38"/>
    <p:sldLayoutId id="2147483692" r:id="rId39"/>
    <p:sldLayoutId id="2147483690" r:id="rId40"/>
    <p:sldLayoutId id="2147483706" r:id="rId41"/>
    <p:sldLayoutId id="2147483711" r:id="rId42"/>
    <p:sldLayoutId id="2147483712" r:id="rId43"/>
    <p:sldLayoutId id="2147483713" r:id="rId44"/>
  </p:sldLayoutIdLst>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2000"/>
        </a:spcBef>
        <a:buClr>
          <a:schemeClr val="tx2"/>
        </a:buClr>
        <a:buFont typeface="Elevance Sans" pitchFamily="2" charset="0"/>
        <a:buNone/>
        <a:tabLst/>
        <a:defRPr sz="2000" b="0" i="0" kern="1200">
          <a:solidFill>
            <a:schemeClr val="tx2"/>
          </a:solidFill>
          <a:latin typeface="Elevance Sans Medium" pitchFamily="2" charset="0"/>
          <a:ea typeface="+mn-ea"/>
          <a:cs typeface="+mn-cs"/>
        </a:defRPr>
      </a:lvl1pPr>
      <a:lvl2pPr marL="17463" indent="0" algn="l" defTabSz="914400" rtl="0" eaLnBrk="1" latinLnBrk="0" hangingPunct="1">
        <a:lnSpc>
          <a:spcPct val="100000"/>
        </a:lnSpc>
        <a:spcBef>
          <a:spcPts val="2000"/>
        </a:spcBef>
        <a:buClr>
          <a:schemeClr val="tx2"/>
        </a:buClr>
        <a:buFont typeface="Elevance Sans" pitchFamily="2" charset="0"/>
        <a:buNone/>
        <a:tabLst/>
        <a:defRPr sz="2000" b="0" i="0" kern="1200">
          <a:solidFill>
            <a:schemeClr val="tx2"/>
          </a:solidFill>
          <a:latin typeface="Elevance Sans" pitchFamily="2" charset="77"/>
          <a:ea typeface="+mn-ea"/>
          <a:cs typeface="+mn-cs"/>
        </a:defRPr>
      </a:lvl2pPr>
      <a:lvl3pPr marL="176213" indent="-166688" algn="l" defTabSz="914400" rtl="0" eaLnBrk="1" latinLnBrk="0" hangingPunct="1">
        <a:lnSpc>
          <a:spcPct val="100000"/>
        </a:lnSpc>
        <a:spcBef>
          <a:spcPts val="2000"/>
        </a:spcBef>
        <a:buClr>
          <a:schemeClr val="tx2"/>
        </a:buClr>
        <a:buFont typeface="Elevance Sans" pitchFamily="2" charset="0"/>
        <a:buChar char="•"/>
        <a:tabLst/>
        <a:defRPr sz="2000" b="0" i="0" kern="1200">
          <a:solidFill>
            <a:schemeClr val="tx2"/>
          </a:solidFill>
          <a:latin typeface="Elevance Sans" pitchFamily="2" charset="77"/>
          <a:ea typeface="+mn-ea"/>
          <a:cs typeface="+mn-cs"/>
        </a:defRPr>
      </a:lvl3pPr>
      <a:lvl4pPr marL="463550" indent="-231775" algn="l" defTabSz="914400" rtl="0" eaLnBrk="1" latinLnBrk="0" hangingPunct="1">
        <a:lnSpc>
          <a:spcPct val="100000"/>
        </a:lnSpc>
        <a:spcBef>
          <a:spcPts val="2000"/>
        </a:spcBef>
        <a:buClr>
          <a:schemeClr val="tx2"/>
        </a:buClr>
        <a:buFont typeface="Elevance Sans" pitchFamily="2" charset="0"/>
        <a:buChar char="–"/>
        <a:tabLst/>
        <a:defRPr sz="2000" b="0" i="0" kern="1200">
          <a:solidFill>
            <a:schemeClr val="tx2"/>
          </a:solidFill>
          <a:latin typeface="Elevance Sans" pitchFamily="2" charset="77"/>
          <a:ea typeface="+mn-ea"/>
          <a:cs typeface="+mn-cs"/>
        </a:defRPr>
      </a:lvl4pPr>
      <a:lvl5pPr marL="628650" indent="-165100" algn="l" defTabSz="914400" rtl="0" eaLnBrk="1" latinLnBrk="0" hangingPunct="1">
        <a:lnSpc>
          <a:spcPct val="100000"/>
        </a:lnSpc>
        <a:spcBef>
          <a:spcPts val="2000"/>
        </a:spcBef>
        <a:buClr>
          <a:schemeClr val="tx2"/>
        </a:buClr>
        <a:buFont typeface="Elevance Sans" pitchFamily="2" charset="0"/>
        <a:buChar char="•"/>
        <a:tabLst/>
        <a:defRPr sz="2000" b="0" i="0" kern="1200">
          <a:solidFill>
            <a:schemeClr val="tx2"/>
          </a:solidFill>
          <a:latin typeface="Elevance Sans" pitchFamily="2" charset="77"/>
          <a:ea typeface="+mn-ea"/>
          <a:cs typeface="+mn-cs"/>
        </a:defRPr>
      </a:lvl5pPr>
      <a:lvl6pPr marL="859536" indent="-173736" algn="l" defTabSz="914400" rtl="0" eaLnBrk="1" latinLnBrk="0" hangingPunct="1">
        <a:lnSpc>
          <a:spcPct val="100000"/>
        </a:lnSpc>
        <a:spcBef>
          <a:spcPts val="2000"/>
        </a:spcBef>
        <a:buClr>
          <a:schemeClr val="tx2"/>
        </a:buClr>
        <a:buFont typeface="Elevance Sans" pitchFamily="2" charset="0"/>
        <a:buChar char="•"/>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0A0F69B-72CA-54A1-0AA6-BD3C0E24AB3C}"/>
              </a:ext>
            </a:extLst>
          </p:cNvPr>
          <p:cNvSpPr>
            <a:spLocks noGrp="1"/>
          </p:cNvSpPr>
          <p:nvPr>
            <p:ph type="ctrTitle"/>
          </p:nvPr>
        </p:nvSpPr>
        <p:spPr>
          <a:xfrm>
            <a:off x="415088" y="1503979"/>
            <a:ext cx="9417170" cy="1567689"/>
          </a:xfrm>
        </p:spPr>
        <p:txBody>
          <a:bodyPr/>
          <a:lstStyle/>
          <a:p>
            <a:pPr algn="ctr"/>
            <a:r>
              <a:rPr lang="en-US" sz="5400" dirty="0"/>
              <a:t>EAP and Performance Management</a:t>
            </a:r>
          </a:p>
        </p:txBody>
      </p:sp>
      <p:sp>
        <p:nvSpPr>
          <p:cNvPr id="3" name="Subtitle 2">
            <a:extLst>
              <a:ext uri="{FF2B5EF4-FFF2-40B4-BE49-F238E27FC236}">
                <a16:creationId xmlns:a16="http://schemas.microsoft.com/office/drawing/2014/main" id="{47DEF122-8964-2139-55E8-33C25B01BACF}"/>
              </a:ext>
            </a:extLst>
          </p:cNvPr>
          <p:cNvSpPr>
            <a:spLocks noGrp="1"/>
          </p:cNvSpPr>
          <p:nvPr>
            <p:ph type="subTitle" idx="1"/>
          </p:nvPr>
        </p:nvSpPr>
        <p:spPr>
          <a:xfrm>
            <a:off x="415088" y="4517135"/>
            <a:ext cx="7786232" cy="535631"/>
          </a:xfrm>
        </p:spPr>
        <p:txBody>
          <a:bodyPr/>
          <a:lstStyle/>
          <a:p>
            <a:r>
              <a:rPr lang="en-US" sz="3600" dirty="0"/>
              <a:t>Carrier Employee Assistance Program</a:t>
            </a:r>
          </a:p>
        </p:txBody>
      </p:sp>
    </p:spTree>
    <p:extLst>
      <p:ext uri="{BB962C8B-B14F-4D97-AF65-F5344CB8AC3E}">
        <p14:creationId xmlns:p14="http://schemas.microsoft.com/office/powerpoint/2010/main" val="617963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B0F0"/>
                </a:solidFill>
              </a:rPr>
              <a:t>Formal Referral</a:t>
            </a:r>
          </a:p>
        </p:txBody>
      </p:sp>
      <p:sp>
        <p:nvSpPr>
          <p:cNvPr id="3" name="Text Placeholder 2"/>
          <p:cNvSpPr>
            <a:spLocks noGrp="1"/>
          </p:cNvSpPr>
          <p:nvPr>
            <p:ph type="body" sz="quarter" idx="10"/>
          </p:nvPr>
        </p:nvSpPr>
        <p:spPr>
          <a:xfrm>
            <a:off x="647114" y="1434905"/>
            <a:ext cx="10522634" cy="3657600"/>
          </a:xfrm>
        </p:spPr>
        <p:txBody>
          <a:bodyPr>
            <a:noAutofit/>
          </a:bodyPr>
          <a:lstStyle/>
          <a:p>
            <a:pPr marL="0" indent="0">
              <a:lnSpc>
                <a:spcPct val="100000"/>
              </a:lnSpc>
              <a:spcAft>
                <a:spcPts val="0"/>
              </a:spcAft>
              <a:buNone/>
            </a:pPr>
            <a:r>
              <a:rPr lang="en-US" sz="1600" dirty="0"/>
              <a:t>When you determine there is a personal issue affecting performance at work that must be addressed to comply with your organization’s rules and ensure safety in the workplace, or in order to meet performance expectations, you can go a step further and require the employee to contact and work with the employee support program. This is called a “</a:t>
            </a:r>
            <a:r>
              <a:rPr lang="en-US" sz="1600" i="1" dirty="0"/>
              <a:t>formal referral</a:t>
            </a:r>
            <a:r>
              <a:rPr lang="en-US" sz="1600" dirty="0"/>
              <a:t>.”</a:t>
            </a:r>
            <a:br>
              <a:rPr lang="en-US" sz="1600" dirty="0"/>
            </a:br>
            <a:endParaRPr lang="en-US" sz="1600" dirty="0"/>
          </a:p>
          <a:p>
            <a:pPr marL="0" indent="0">
              <a:lnSpc>
                <a:spcPct val="100000"/>
              </a:lnSpc>
              <a:spcAft>
                <a:spcPts val="0"/>
              </a:spcAft>
              <a:buNone/>
            </a:pPr>
            <a:r>
              <a:rPr lang="en-US" sz="1600" dirty="0"/>
              <a:t>In most organizations, these steps align with the performance management process, including requirements that you document the issue and review it with the employee, making your expectations clear as to work performance and adherence to the rules of your organization. As an additional step, you will contact the employee assistance program about the issue, typically by submitting a release of information form with the employee’s name and the expectations for resolving the problem. </a:t>
            </a:r>
            <a:br>
              <a:rPr lang="en-US" sz="1600" dirty="0"/>
            </a:br>
            <a:endParaRPr lang="en-US" sz="1600" dirty="0"/>
          </a:p>
          <a:p>
            <a:pPr marL="0" indent="0">
              <a:lnSpc>
                <a:spcPct val="100000"/>
              </a:lnSpc>
              <a:spcAft>
                <a:spcPts val="0"/>
              </a:spcAft>
              <a:buNone/>
            </a:pPr>
            <a:r>
              <a:rPr lang="en-US" sz="1600" dirty="0"/>
              <a:t>In a formal referral, the employee is required to contact the employee assistance program. Assuming the employee consents through a signed release of information form, the program reports back to the manager periodically to confirm whether the employee is complying with the action plan. The substance of the employee’s consultations with the employee assistance program are otherwise confidential.</a:t>
            </a:r>
          </a:p>
          <a:p>
            <a:pPr marL="0" indent="0">
              <a:buNone/>
            </a:pPr>
            <a:endParaRPr lang="en-US" sz="1600" dirty="0"/>
          </a:p>
        </p:txBody>
      </p:sp>
    </p:spTree>
    <p:extLst>
      <p:ext uri="{BB962C8B-B14F-4D97-AF65-F5344CB8AC3E}">
        <p14:creationId xmlns:p14="http://schemas.microsoft.com/office/powerpoint/2010/main" val="32560443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solidFill>
                  <a:srgbClr val="00B0F0"/>
                </a:solidFill>
              </a:rPr>
              <a:t>Mandatory Referral</a:t>
            </a:r>
          </a:p>
        </p:txBody>
      </p:sp>
      <p:sp>
        <p:nvSpPr>
          <p:cNvPr id="3" name="Text Placeholder 2"/>
          <p:cNvSpPr>
            <a:spLocks noGrp="1"/>
          </p:cNvSpPr>
          <p:nvPr>
            <p:ph type="body" sz="quarter" idx="10"/>
          </p:nvPr>
        </p:nvSpPr>
        <p:spPr>
          <a:xfrm>
            <a:off x="633046" y="2116182"/>
            <a:ext cx="10508566" cy="3370217"/>
          </a:xfrm>
        </p:spPr>
        <p:txBody>
          <a:bodyPr>
            <a:normAutofit/>
          </a:bodyPr>
          <a:lstStyle/>
          <a:p>
            <a:pPr marL="0" indent="0">
              <a:buNone/>
            </a:pPr>
            <a:r>
              <a:rPr lang="en-US" sz="1600" dirty="0"/>
              <a:t>In the event of a positive drug screen, significant behavioral concerns, or an ongoing performance problem not resolved through previous efforts, depending on your organizational policy, you may make the employee’s involvement with EAP a condition of continued employment. You will be notified that the employee has contacted EAP and whether the employee has been compliant with treatment recommendations if the employee signs a release of information form. </a:t>
            </a:r>
          </a:p>
          <a:p>
            <a:pPr marL="0" indent="0">
              <a:buNone/>
            </a:pPr>
            <a:endParaRPr lang="en-US" sz="1800" dirty="0"/>
          </a:p>
        </p:txBody>
      </p:sp>
    </p:spTree>
    <p:extLst>
      <p:ext uri="{BB962C8B-B14F-4D97-AF65-F5344CB8AC3E}">
        <p14:creationId xmlns:p14="http://schemas.microsoft.com/office/powerpoint/2010/main" val="4716299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547307"/>
            <a:ext cx="5094410" cy="1647253"/>
          </a:xfrm>
        </p:spPr>
        <p:txBody>
          <a:bodyPr>
            <a:normAutofit/>
          </a:bodyPr>
          <a:lstStyle/>
          <a:p>
            <a:r>
              <a:rPr lang="en-US" sz="3600" dirty="0">
                <a:solidFill>
                  <a:schemeClr val="accent1"/>
                </a:solidFill>
              </a:rPr>
              <a:t>Process for Manager </a:t>
            </a:r>
            <a:br>
              <a:rPr lang="en-US" sz="3600" dirty="0">
                <a:solidFill>
                  <a:schemeClr val="accent1"/>
                </a:solidFill>
              </a:rPr>
            </a:br>
            <a:r>
              <a:rPr lang="en-US" sz="3600" dirty="0">
                <a:solidFill>
                  <a:schemeClr val="accent1"/>
                </a:solidFill>
              </a:rPr>
              <a:t>Consultation, Informal </a:t>
            </a:r>
            <a:br>
              <a:rPr lang="en-US" sz="3600" dirty="0">
                <a:solidFill>
                  <a:schemeClr val="accent1"/>
                </a:solidFill>
              </a:rPr>
            </a:br>
            <a:r>
              <a:rPr lang="en-US" sz="3600" dirty="0">
                <a:solidFill>
                  <a:schemeClr val="accent1"/>
                </a:solidFill>
              </a:rPr>
              <a:t>and Formal Referrals</a:t>
            </a:r>
            <a:endParaRPr lang="en-US" sz="3600" dirty="0"/>
          </a:p>
        </p:txBody>
      </p:sp>
      <p:sp>
        <p:nvSpPr>
          <p:cNvPr id="4" name="Slide Number Placeholder 3"/>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E4B88"/>
                </a:solidFill>
                <a:effectLst/>
                <a:uLnTx/>
                <a:uFillTx/>
                <a:latin typeface="Arial" panose="020B0604020202020204"/>
                <a:ea typeface="+mn-ea"/>
                <a:cs typeface="+mn-cs"/>
              </a:rPr>
              <a:t> </a:t>
            </a:r>
          </a:p>
        </p:txBody>
      </p:sp>
      <p:pic>
        <p:nvPicPr>
          <p:cNvPr id="8" name="Picture 7"/>
          <p:cNvPicPr>
            <a:picLocks noChangeAspect="1"/>
          </p:cNvPicPr>
          <p:nvPr/>
        </p:nvPicPr>
        <p:blipFill>
          <a:blip r:embed="rId2"/>
          <a:stretch>
            <a:fillRect/>
          </a:stretch>
        </p:blipFill>
        <p:spPr>
          <a:xfrm>
            <a:off x="5844687" y="347443"/>
            <a:ext cx="5848350" cy="6191250"/>
          </a:xfrm>
          <a:prstGeom prst="rect">
            <a:avLst/>
          </a:prstGeom>
        </p:spPr>
      </p:pic>
    </p:spTree>
    <p:extLst>
      <p:ext uri="{BB962C8B-B14F-4D97-AF65-F5344CB8AC3E}">
        <p14:creationId xmlns:p14="http://schemas.microsoft.com/office/powerpoint/2010/main" val="40885740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4718" y="131976"/>
            <a:ext cx="10804154" cy="509048"/>
          </a:xfrm>
        </p:spPr>
        <p:txBody>
          <a:bodyPr>
            <a:normAutofit/>
          </a:bodyPr>
          <a:lstStyle/>
          <a:p>
            <a:r>
              <a:rPr lang="en-US" altLang="en-US" dirty="0">
                <a:solidFill>
                  <a:srgbClr val="00B0F0"/>
                </a:solidFill>
              </a:rPr>
              <a:t>Fitness for Duty Evaluation*</a:t>
            </a:r>
            <a:endParaRPr lang="en-US" dirty="0">
              <a:solidFill>
                <a:srgbClr val="00B0F0"/>
              </a:solidFill>
            </a:endParaRPr>
          </a:p>
        </p:txBody>
      </p:sp>
      <p:sp>
        <p:nvSpPr>
          <p:cNvPr id="3" name="Text Placeholder 2"/>
          <p:cNvSpPr>
            <a:spLocks noGrp="1"/>
          </p:cNvSpPr>
          <p:nvPr>
            <p:ph type="body" sz="quarter" idx="10"/>
          </p:nvPr>
        </p:nvSpPr>
        <p:spPr>
          <a:xfrm>
            <a:off x="970960" y="914399"/>
            <a:ext cx="9748621" cy="5176911"/>
          </a:xfrm>
        </p:spPr>
        <p:txBody>
          <a:bodyPr>
            <a:noAutofit/>
          </a:bodyPr>
          <a:lstStyle/>
          <a:p>
            <a:pPr>
              <a:lnSpc>
                <a:spcPct val="100000"/>
              </a:lnSpc>
              <a:spcAft>
                <a:spcPts val="0"/>
              </a:spcAft>
              <a:buNone/>
            </a:pPr>
            <a:r>
              <a:rPr lang="en-US" altLang="en-US" sz="1600" dirty="0"/>
              <a:t>A Fitness for Duty Evaluation (FFDE) is an evaluation, requested by an employer, to determine if a current</a:t>
            </a:r>
          </a:p>
          <a:p>
            <a:pPr>
              <a:lnSpc>
                <a:spcPct val="100000"/>
              </a:lnSpc>
              <a:spcAft>
                <a:spcPts val="0"/>
              </a:spcAft>
              <a:buNone/>
            </a:pPr>
            <a:r>
              <a:rPr lang="en-US" altLang="en-US" sz="1600" dirty="0"/>
              <a:t>employee is or is not able to function at the workplace because of psychological or psychiatric problems.</a:t>
            </a:r>
          </a:p>
          <a:p>
            <a:pPr>
              <a:lnSpc>
                <a:spcPct val="100000"/>
              </a:lnSpc>
            </a:pPr>
            <a:r>
              <a:rPr lang="en-US" altLang="en-US" sz="1600" dirty="0"/>
              <a:t>Employers have the responsibility to recognize when poor employee performance might be secondary to psychological conditions. </a:t>
            </a:r>
          </a:p>
          <a:p>
            <a:pPr>
              <a:lnSpc>
                <a:spcPct val="100000"/>
              </a:lnSpc>
            </a:pPr>
            <a:r>
              <a:rPr lang="en-US" altLang="en-US" sz="1600" dirty="0"/>
              <a:t>Employers request FFDEs when they suspect employees pose risks to themselves or others.</a:t>
            </a:r>
          </a:p>
          <a:p>
            <a:pPr>
              <a:lnSpc>
                <a:spcPct val="100000"/>
              </a:lnSpc>
            </a:pPr>
            <a:r>
              <a:rPr lang="en-US" altLang="en-US" sz="1600" dirty="0"/>
              <a:t>Employers should consider Fitness for Duty Examinations when they observe any of the following behavior from employees:</a:t>
            </a:r>
          </a:p>
          <a:p>
            <a:pPr marL="690563" indent="-342900" defTabSz="576263">
              <a:lnSpc>
                <a:spcPct val="100000"/>
              </a:lnSpc>
              <a:buFont typeface="Courier New" panose="02070309020205020404" pitchFamily="49" charset="0"/>
              <a:buChar char="o"/>
            </a:pPr>
            <a:r>
              <a:rPr lang="en-US" altLang="en-US" sz="1600" dirty="0"/>
              <a:t>Threat of violence </a:t>
            </a:r>
          </a:p>
          <a:p>
            <a:pPr marL="690563" indent="-342900" defTabSz="576263">
              <a:lnSpc>
                <a:spcPct val="100000"/>
              </a:lnSpc>
              <a:buFont typeface="Courier New" panose="02070309020205020404" pitchFamily="49" charset="0"/>
              <a:buChar char="o"/>
            </a:pPr>
            <a:r>
              <a:rPr lang="en-US" altLang="en-US" sz="1600" dirty="0"/>
              <a:t>Impaired concentration </a:t>
            </a:r>
          </a:p>
          <a:p>
            <a:pPr marL="690563" indent="-342900" defTabSz="576263">
              <a:lnSpc>
                <a:spcPct val="100000"/>
              </a:lnSpc>
              <a:buFont typeface="Courier New" panose="02070309020205020404" pitchFamily="49" charset="0"/>
              <a:buChar char="o"/>
            </a:pPr>
            <a:r>
              <a:rPr lang="en-US" altLang="en-US" sz="1600" dirty="0"/>
              <a:t>Paranoid thinking </a:t>
            </a:r>
          </a:p>
          <a:p>
            <a:pPr marL="690563" indent="-342900" defTabSz="576263">
              <a:lnSpc>
                <a:spcPct val="100000"/>
              </a:lnSpc>
              <a:buFont typeface="Courier New" panose="02070309020205020404" pitchFamily="49" charset="0"/>
              <a:buChar char="o"/>
            </a:pPr>
            <a:r>
              <a:rPr lang="en-US" altLang="en-US" sz="1600" dirty="0"/>
              <a:t>Abusive behavior toward co-workers or customers </a:t>
            </a:r>
          </a:p>
          <a:p>
            <a:pPr marL="690563" indent="-342900" defTabSz="576263">
              <a:lnSpc>
                <a:spcPct val="100000"/>
              </a:lnSpc>
              <a:buFont typeface="Courier New" panose="02070309020205020404" pitchFamily="49" charset="0"/>
              <a:buChar char="o"/>
            </a:pPr>
            <a:r>
              <a:rPr lang="en-US" altLang="en-US" sz="1600" dirty="0"/>
              <a:t>Any behavior that poses a safety risk</a:t>
            </a:r>
          </a:p>
          <a:p>
            <a:pPr marL="0" indent="0">
              <a:buNone/>
            </a:pPr>
            <a:endParaRPr lang="en-US" altLang="en-US" sz="1600" dirty="0"/>
          </a:p>
          <a:p>
            <a:pPr marL="0" indent="0">
              <a:buNone/>
            </a:pPr>
            <a:r>
              <a:rPr lang="en-US" altLang="en-US" sz="1600" dirty="0"/>
              <a:t>*</a:t>
            </a:r>
            <a:r>
              <a:rPr lang="en-US" altLang="en-US" sz="1600" dirty="0">
                <a:solidFill>
                  <a:schemeClr val="accent4"/>
                </a:solidFill>
              </a:rPr>
              <a:t>FFDE services can be coordinated through the EAP for an additional fee per the employer’s EAP contract</a:t>
            </a:r>
          </a:p>
          <a:p>
            <a:endParaRPr lang="en-US" sz="1600" dirty="0"/>
          </a:p>
        </p:txBody>
      </p:sp>
    </p:spTree>
    <p:extLst>
      <p:ext uri="{BB962C8B-B14F-4D97-AF65-F5344CB8AC3E}">
        <p14:creationId xmlns:p14="http://schemas.microsoft.com/office/powerpoint/2010/main" val="18143145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AutoShape 2"/>
          <p:cNvSpPr>
            <a:spLocks noGrp="1" noChangeArrowheads="1"/>
          </p:cNvSpPr>
          <p:nvPr>
            <p:ph type="ctrTitle"/>
          </p:nvPr>
        </p:nvSpPr>
        <p:spPr>
          <a:xfrm>
            <a:off x="1022887" y="534572"/>
            <a:ext cx="10073899" cy="705292"/>
          </a:xfrm>
        </p:spPr>
        <p:txBody>
          <a:bodyPr>
            <a:normAutofit/>
          </a:bodyPr>
          <a:lstStyle/>
          <a:p>
            <a:pPr eaLnBrk="1" hangingPunct="1"/>
            <a:r>
              <a:rPr lang="en-US" altLang="en-US" sz="3200" dirty="0">
                <a:solidFill>
                  <a:srgbClr val="00B0F0"/>
                </a:solidFill>
                <a:latin typeface="+mn-lt"/>
                <a:ea typeface="ＭＳ Ｐゴシック" panose="020B0600070205080204" pitchFamily="34" charset="-128"/>
              </a:rPr>
              <a:t>Tips for EAP Referral</a:t>
            </a:r>
          </a:p>
        </p:txBody>
      </p:sp>
      <p:sp>
        <p:nvSpPr>
          <p:cNvPr id="24579" name="Rectangle 3"/>
          <p:cNvSpPr>
            <a:spLocks noGrp="1" noChangeArrowheads="1"/>
          </p:cNvSpPr>
          <p:nvPr>
            <p:ph type="subTitle" idx="1"/>
          </p:nvPr>
        </p:nvSpPr>
        <p:spPr>
          <a:xfrm>
            <a:off x="711200" y="1752599"/>
            <a:ext cx="9614486" cy="4092019"/>
          </a:xfrm>
        </p:spPr>
        <p:txBody>
          <a:bodyPr>
            <a:normAutofit fontScale="77500" lnSpcReduction="20000"/>
          </a:bodyPr>
          <a:lstStyle/>
          <a:p>
            <a:pPr>
              <a:lnSpc>
                <a:spcPct val="90000"/>
              </a:lnSpc>
              <a:buNone/>
              <a:defRPr/>
            </a:pPr>
            <a:r>
              <a:rPr lang="en-US" sz="2300" b="1" dirty="0">
                <a:solidFill>
                  <a:schemeClr val="tx1"/>
                </a:solidFill>
                <a:latin typeface="Georgia" panose="02040502050405020303" pitchFamily="18" charset="0"/>
              </a:rPr>
              <a:t>Here are some ways to start a referral conversation</a:t>
            </a:r>
          </a:p>
          <a:p>
            <a:pPr marL="342900" indent="-342900">
              <a:lnSpc>
                <a:spcPct val="90000"/>
              </a:lnSpc>
              <a:defRPr/>
            </a:pPr>
            <a:endParaRPr lang="en-US" sz="2300" dirty="0">
              <a:solidFill>
                <a:schemeClr val="tx1"/>
              </a:solidFill>
              <a:latin typeface="Georgia" panose="02040502050405020303" pitchFamily="18" charset="0"/>
            </a:endParaRPr>
          </a:p>
          <a:p>
            <a:pPr marL="342900" indent="-342900">
              <a:lnSpc>
                <a:spcPct val="100000"/>
              </a:lnSpc>
              <a:defRPr/>
            </a:pPr>
            <a:r>
              <a:rPr lang="en-US" sz="2300" dirty="0">
                <a:solidFill>
                  <a:schemeClr val="tx1"/>
                </a:solidFill>
                <a:latin typeface="Georgia" panose="02040502050405020303" pitchFamily="18" charset="0"/>
              </a:rPr>
              <a:t>It sounds as though you have a lot on your plate right now.  </a:t>
            </a:r>
          </a:p>
          <a:p>
            <a:pPr marL="342900" indent="-342900">
              <a:lnSpc>
                <a:spcPct val="100000"/>
              </a:lnSpc>
              <a:defRPr/>
            </a:pPr>
            <a:r>
              <a:rPr lang="en-US" sz="2300" dirty="0">
                <a:solidFill>
                  <a:schemeClr val="tx1"/>
                </a:solidFill>
                <a:latin typeface="Georgia" panose="02040502050405020303" pitchFamily="18" charset="0"/>
              </a:rPr>
              <a:t>Sometimes when there are physical problems it can effect how you are feeling as well.</a:t>
            </a:r>
          </a:p>
          <a:p>
            <a:pPr marL="342900" indent="-342900">
              <a:lnSpc>
                <a:spcPct val="100000"/>
              </a:lnSpc>
              <a:defRPr/>
            </a:pPr>
            <a:r>
              <a:rPr lang="en-US" sz="2300" dirty="0">
                <a:solidFill>
                  <a:schemeClr val="tx1"/>
                </a:solidFill>
                <a:latin typeface="Georgia" panose="02040502050405020303" pitchFamily="18" charset="0"/>
              </a:rPr>
              <a:t>You sound really down.</a:t>
            </a:r>
          </a:p>
          <a:p>
            <a:pPr marL="342900" indent="-342900">
              <a:lnSpc>
                <a:spcPct val="100000"/>
              </a:lnSpc>
              <a:defRPr/>
            </a:pPr>
            <a:r>
              <a:rPr lang="en-US" sz="2300" dirty="0">
                <a:solidFill>
                  <a:schemeClr val="tx1"/>
                </a:solidFill>
                <a:latin typeface="Georgia" panose="02040502050405020303" pitchFamily="18" charset="0"/>
              </a:rPr>
              <a:t>You sound really stressed.</a:t>
            </a:r>
          </a:p>
          <a:p>
            <a:pPr marL="342900" indent="-342900">
              <a:lnSpc>
                <a:spcPct val="100000"/>
              </a:lnSpc>
              <a:defRPr/>
            </a:pPr>
            <a:r>
              <a:rPr lang="en-US" sz="2300" dirty="0">
                <a:solidFill>
                  <a:schemeClr val="tx1"/>
                </a:solidFill>
                <a:latin typeface="Georgia" panose="02040502050405020303" pitchFamily="18" charset="0"/>
              </a:rPr>
              <a:t>I would like to ask you a couple of extra questions to get a sense of where you are currently.</a:t>
            </a:r>
          </a:p>
          <a:p>
            <a:pPr marL="342900" indent="-342900">
              <a:lnSpc>
                <a:spcPct val="100000"/>
              </a:lnSpc>
              <a:defRPr/>
            </a:pPr>
            <a:r>
              <a:rPr lang="en-US" sz="2300" dirty="0">
                <a:solidFill>
                  <a:schemeClr val="tx1"/>
                </a:solidFill>
                <a:latin typeface="Georgia" panose="02040502050405020303" pitchFamily="18" charset="0"/>
              </a:rPr>
              <a:t>It's not uncommon for people with an illness to be feeling unhappy or distressed.  In order to help you access the care or resources you may need, do you mind if I ask you a few questions about how you've been doing in the past month? </a:t>
            </a:r>
          </a:p>
          <a:p>
            <a:pPr marL="342900" indent="-342900">
              <a:lnSpc>
                <a:spcPct val="90000"/>
              </a:lnSpc>
              <a:defRPr/>
            </a:pPr>
            <a:endParaRPr lang="en-US" sz="1600" dirty="0">
              <a:solidFill>
                <a:schemeClr val="tx1"/>
              </a:solidFill>
              <a:latin typeface="Georgia" panose="02040502050405020303" pitchFamily="18" charset="0"/>
            </a:endParaRPr>
          </a:p>
          <a:p>
            <a:pPr marL="342900" indent="-342900">
              <a:lnSpc>
                <a:spcPct val="90000"/>
              </a:lnSpc>
              <a:defRPr/>
            </a:pPr>
            <a:endParaRPr lang="en-US" sz="1600" dirty="0">
              <a:solidFill>
                <a:schemeClr val="tx1"/>
              </a:solidFill>
              <a:latin typeface="+mn-lt"/>
            </a:endParaRPr>
          </a:p>
          <a:p>
            <a:pPr lvl="1" eaLnBrk="1" hangingPunct="1">
              <a:lnSpc>
                <a:spcPct val="90000"/>
              </a:lnSpc>
              <a:defRPr/>
            </a:pPr>
            <a:endParaRPr lang="en-US" sz="1600" b="1" dirty="0"/>
          </a:p>
        </p:txBody>
      </p:sp>
    </p:spTree>
    <p:extLst>
      <p:ext uri="{BB962C8B-B14F-4D97-AF65-F5344CB8AC3E}">
        <p14:creationId xmlns:p14="http://schemas.microsoft.com/office/powerpoint/2010/main" val="6526793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2148" y="352698"/>
            <a:ext cx="10686723" cy="574766"/>
          </a:xfrm>
        </p:spPr>
        <p:txBody>
          <a:bodyPr>
            <a:noAutofit/>
          </a:bodyPr>
          <a:lstStyle/>
          <a:p>
            <a:r>
              <a:rPr lang="en-US" sz="3200" dirty="0">
                <a:solidFill>
                  <a:srgbClr val="00B0F0"/>
                </a:solidFill>
              </a:rPr>
              <a:t>Carrier Employee Assistance Program</a:t>
            </a:r>
          </a:p>
        </p:txBody>
      </p:sp>
      <p:sp>
        <p:nvSpPr>
          <p:cNvPr id="3" name="Text Placeholder 2"/>
          <p:cNvSpPr>
            <a:spLocks noGrp="1"/>
          </p:cNvSpPr>
          <p:nvPr>
            <p:ph type="body" sz="quarter" idx="10"/>
          </p:nvPr>
        </p:nvSpPr>
        <p:spPr>
          <a:xfrm>
            <a:off x="862148" y="1348032"/>
            <a:ext cx="10307600" cy="4785481"/>
          </a:xfrm>
        </p:spPr>
        <p:txBody>
          <a:bodyPr>
            <a:noAutofit/>
          </a:bodyPr>
          <a:lstStyle/>
          <a:p>
            <a:pPr marL="329803" indent="-285750" defTabSz="341710">
              <a:spcBef>
                <a:spcPts val="806"/>
              </a:spcBef>
              <a:defRPr/>
            </a:pPr>
            <a:r>
              <a:rPr lang="en-US" altLang="en-US" sz="1600" dirty="0">
                <a:solidFill>
                  <a:srgbClr val="000000"/>
                </a:solidFill>
                <a:cs typeface="Arial" panose="020B0604020202020204" pitchFamily="34" charset="0"/>
              </a:rPr>
              <a:t>A </a:t>
            </a:r>
            <a:r>
              <a:rPr lang="en-US" altLang="en-US" sz="1600" b="1" dirty="0">
                <a:solidFill>
                  <a:srgbClr val="000000"/>
                </a:solidFill>
                <a:cs typeface="Arial" panose="020B0604020202020204" pitchFamily="34" charset="0"/>
              </a:rPr>
              <a:t>confidential</a:t>
            </a:r>
            <a:r>
              <a:rPr lang="en-US" altLang="en-US" sz="1600" dirty="0">
                <a:solidFill>
                  <a:srgbClr val="000000"/>
                </a:solidFill>
                <a:cs typeface="Arial" panose="020B0604020202020204" pitchFamily="34" charset="0"/>
              </a:rPr>
              <a:t> employee counseling and engagement process</a:t>
            </a:r>
          </a:p>
          <a:p>
            <a:pPr marL="285750" indent="-285750" defTabSz="341710">
              <a:spcBef>
                <a:spcPts val="806"/>
              </a:spcBef>
              <a:defRPr/>
            </a:pPr>
            <a:r>
              <a:rPr lang="en-US" altLang="en-US" sz="1600" dirty="0">
                <a:solidFill>
                  <a:srgbClr val="000000"/>
                </a:solidFill>
                <a:cs typeface="Arial" panose="020B0604020202020204" pitchFamily="34" charset="0"/>
              </a:rPr>
              <a:t>No cost </a:t>
            </a:r>
          </a:p>
          <a:p>
            <a:pPr marL="285750" indent="-285750" defTabSz="341710">
              <a:spcBef>
                <a:spcPts val="806"/>
              </a:spcBef>
              <a:defRPr/>
            </a:pPr>
            <a:r>
              <a:rPr lang="en-US" altLang="en-US" sz="1600" dirty="0">
                <a:solidFill>
                  <a:srgbClr val="000000"/>
                </a:solidFill>
                <a:cs typeface="Arial" panose="020B0604020202020204" pitchFamily="34" charset="0"/>
              </a:rPr>
              <a:t>Employee and all household members are eligible</a:t>
            </a:r>
          </a:p>
          <a:p>
            <a:pPr marL="285750" indent="-285750" defTabSz="341710">
              <a:spcBef>
                <a:spcPts val="806"/>
              </a:spcBef>
              <a:defRPr/>
            </a:pPr>
            <a:r>
              <a:rPr lang="en-US" altLang="en-US" sz="1600" dirty="0">
                <a:solidFill>
                  <a:srgbClr val="000000"/>
                </a:solidFill>
                <a:cs typeface="Arial" panose="020B0604020202020204" pitchFamily="34" charset="0"/>
              </a:rPr>
              <a:t>Member EAP access available [ 24/7/365 ] at </a:t>
            </a:r>
            <a:r>
              <a:rPr lang="en-US" sz="1600" dirty="0">
                <a:solidFill>
                  <a:srgbClr val="00B0F0"/>
                </a:solidFill>
                <a:latin typeface="Arial" panose="020B0604020202020204" pitchFamily="34" charset="0"/>
                <a:cs typeface="Arial" panose="020B0604020202020204" pitchFamily="34" charset="0"/>
              </a:rPr>
              <a:t>866-984-3110</a:t>
            </a:r>
            <a:endParaRPr lang="en-US" sz="1600" b="1" dirty="0">
              <a:solidFill>
                <a:srgbClr val="00B0F0"/>
              </a:solidFill>
              <a:cs typeface="Arial" panose="020B0604020202020204" pitchFamily="34" charset="0"/>
            </a:endParaRPr>
          </a:p>
          <a:p>
            <a:pPr marL="285750" indent="-285750" defTabSz="341710">
              <a:spcBef>
                <a:spcPts val="806"/>
              </a:spcBef>
              <a:defRPr/>
            </a:pPr>
            <a:r>
              <a:rPr lang="en-US" altLang="en-US" sz="1600" dirty="0">
                <a:solidFill>
                  <a:srgbClr val="000000"/>
                </a:solidFill>
                <a:cs typeface="Arial" panose="020B0604020202020204" pitchFamily="34" charset="0"/>
              </a:rPr>
              <a:t>Staffed by licensed, masters level clinicians available to assess issues and refer participants to the most appropriate resource based on individual need.</a:t>
            </a:r>
          </a:p>
          <a:p>
            <a:pPr marL="285750" indent="-285750" defTabSz="341710">
              <a:spcBef>
                <a:spcPts val="806"/>
              </a:spcBef>
              <a:defRPr/>
            </a:pPr>
            <a:r>
              <a:rPr lang="en-US" altLang="en-US" sz="1600" dirty="0">
                <a:solidFill>
                  <a:srgbClr val="000000"/>
                </a:solidFill>
                <a:cs typeface="Arial" panose="020B0604020202020204" pitchFamily="34" charset="0"/>
              </a:rPr>
              <a:t> EAP addresses quality of life issues – any area of concern</a:t>
            </a:r>
          </a:p>
          <a:p>
            <a:pPr marL="285750" indent="-285750" defTabSz="341710">
              <a:spcBef>
                <a:spcPts val="806"/>
              </a:spcBef>
              <a:defRPr/>
            </a:pPr>
            <a:r>
              <a:rPr lang="en-US" altLang="en-US" sz="1600" dirty="0">
                <a:solidFill>
                  <a:srgbClr val="000000"/>
                </a:solidFill>
                <a:cs typeface="Arial" panose="020B0604020202020204" pitchFamily="34" charset="0"/>
              </a:rPr>
              <a:t>Work/Life and Legal &amp; Financial Referrals</a:t>
            </a:r>
          </a:p>
          <a:p>
            <a:pPr marL="285750" indent="-285750" defTabSz="341710">
              <a:spcBef>
                <a:spcPts val="806"/>
              </a:spcBef>
              <a:defRPr/>
            </a:pPr>
            <a:r>
              <a:rPr lang="en-US" altLang="en-US" sz="1600" dirty="0">
                <a:solidFill>
                  <a:srgbClr val="000000"/>
                </a:solidFill>
                <a:cs typeface="Arial" panose="020B0604020202020204" pitchFamily="34" charset="0"/>
              </a:rPr>
              <a:t>Sessions offered face-to-face (office), telephonic, or video enabled telehealth</a:t>
            </a:r>
          </a:p>
          <a:p>
            <a:pPr marL="285750" indent="-285750" defTabSz="341710">
              <a:spcBef>
                <a:spcPts val="806"/>
              </a:spcBef>
              <a:defRPr/>
            </a:pPr>
            <a:r>
              <a:rPr lang="en-US" altLang="en-US" sz="1600" dirty="0">
                <a:solidFill>
                  <a:srgbClr val="000000"/>
                </a:solidFill>
                <a:cs typeface="Arial" panose="020B0604020202020204" pitchFamily="34" charset="0"/>
              </a:rPr>
              <a:t>EAP website – </a:t>
            </a:r>
            <a:r>
              <a:rPr lang="en-US" altLang="en-US" sz="1600" b="1" dirty="0">
                <a:solidFill>
                  <a:srgbClr val="00B0F0"/>
                </a:solidFill>
                <a:cs typeface="Arial" panose="020B0604020202020204" pitchFamily="34" charset="0"/>
              </a:rPr>
              <a:t>www.carelonwellbeing.com/carrier</a:t>
            </a:r>
            <a:endParaRPr lang="en-US" altLang="en-US" sz="1600" dirty="0">
              <a:solidFill>
                <a:srgbClr val="00B0F0"/>
              </a:solidFill>
              <a:cs typeface="Arial" panose="020B0604020202020204" pitchFamily="34" charset="0"/>
            </a:endParaRPr>
          </a:p>
          <a:p>
            <a:pPr marL="285750" indent="-285750" defTabSz="341710">
              <a:spcBef>
                <a:spcPts val="806"/>
              </a:spcBef>
              <a:defRPr/>
            </a:pPr>
            <a:r>
              <a:rPr lang="en-US" sz="1600" dirty="0">
                <a:solidFill>
                  <a:srgbClr val="000000"/>
                </a:solidFill>
                <a:cs typeface="Arial" panose="020B0604020202020204" pitchFamily="34" charset="0"/>
              </a:rPr>
              <a:t>Manager’s Workplace Consultation line at </a:t>
            </a:r>
            <a:r>
              <a:rPr lang="en-US" sz="1600" b="1" dirty="0">
                <a:solidFill>
                  <a:srgbClr val="00B0F0"/>
                </a:solidFill>
                <a:cs typeface="Arial" panose="020B0604020202020204" pitchFamily="34" charset="0"/>
              </a:rPr>
              <a:t>(800) 444-9559</a:t>
            </a:r>
          </a:p>
        </p:txBody>
      </p:sp>
    </p:spTree>
    <p:extLst>
      <p:ext uri="{BB962C8B-B14F-4D97-AF65-F5344CB8AC3E}">
        <p14:creationId xmlns:p14="http://schemas.microsoft.com/office/powerpoint/2010/main" val="1201733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38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3402" y="216977"/>
            <a:ext cx="10665469" cy="371960"/>
          </a:xfrm>
        </p:spPr>
        <p:txBody>
          <a:bodyPr>
            <a:normAutofit fontScale="90000"/>
          </a:bodyPr>
          <a:lstStyle/>
          <a:p>
            <a:r>
              <a:rPr lang="en-US" dirty="0">
                <a:solidFill>
                  <a:srgbClr val="00B0F0"/>
                </a:solidFill>
              </a:rPr>
              <a:t>EAP as a Manager’s Tool</a:t>
            </a:r>
          </a:p>
        </p:txBody>
      </p:sp>
      <p:sp>
        <p:nvSpPr>
          <p:cNvPr id="3" name="Text Placeholder 2"/>
          <p:cNvSpPr>
            <a:spLocks noGrp="1"/>
          </p:cNvSpPr>
          <p:nvPr>
            <p:ph type="body" sz="quarter" idx="10"/>
          </p:nvPr>
        </p:nvSpPr>
        <p:spPr>
          <a:xfrm>
            <a:off x="604911" y="1502229"/>
            <a:ext cx="10943961" cy="4728090"/>
          </a:xfrm>
        </p:spPr>
        <p:txBody>
          <a:bodyPr>
            <a:normAutofit/>
          </a:bodyPr>
          <a:lstStyle/>
          <a:p>
            <a:pPr marL="0" indent="0">
              <a:buNone/>
            </a:pPr>
            <a:r>
              <a:rPr lang="en-US" sz="2000" b="1" dirty="0"/>
              <a:t>EAP Program Benefits assist with….</a:t>
            </a:r>
            <a:endParaRPr lang="en-US" sz="1600" dirty="0"/>
          </a:p>
          <a:p>
            <a:pPr marL="749300" lvl="0" indent="-285750">
              <a:lnSpc>
                <a:spcPct val="120000"/>
              </a:lnSpc>
              <a:spcBef>
                <a:spcPts val="600"/>
              </a:spcBef>
              <a:spcAft>
                <a:spcPts val="0"/>
              </a:spcAft>
              <a:buFont typeface="Arial" panose="020B0604020202020204" pitchFamily="34" charset="0"/>
              <a:buChar char="•"/>
            </a:pPr>
            <a:r>
              <a:rPr lang="en-US" sz="1600" dirty="0"/>
              <a:t>Enhancing positive supervisor/employee relationships.</a:t>
            </a:r>
          </a:p>
          <a:p>
            <a:pPr marL="749300" lvl="0" indent="-285750">
              <a:lnSpc>
                <a:spcPct val="120000"/>
              </a:lnSpc>
              <a:spcBef>
                <a:spcPts val="600"/>
              </a:spcBef>
              <a:spcAft>
                <a:spcPts val="0"/>
              </a:spcAft>
              <a:buFont typeface="Arial" panose="020B0604020202020204" pitchFamily="34" charset="0"/>
              <a:buChar char="•"/>
            </a:pPr>
            <a:r>
              <a:rPr lang="en-US" sz="1600" dirty="0"/>
              <a:t>Reducing employee health care costs and absenteeism</a:t>
            </a:r>
          </a:p>
          <a:p>
            <a:pPr marL="749300" lvl="0" indent="-285750">
              <a:lnSpc>
                <a:spcPct val="120000"/>
              </a:lnSpc>
              <a:spcBef>
                <a:spcPts val="600"/>
              </a:spcBef>
              <a:spcAft>
                <a:spcPts val="0"/>
              </a:spcAft>
              <a:buFont typeface="Arial" panose="020B0604020202020204" pitchFamily="34" charset="0"/>
              <a:buChar char="•"/>
            </a:pPr>
            <a:r>
              <a:rPr lang="en-US" sz="1600" dirty="0"/>
              <a:t>Retaining employees </a:t>
            </a:r>
          </a:p>
          <a:p>
            <a:pPr marL="749300" lvl="0" indent="-285750">
              <a:lnSpc>
                <a:spcPct val="120000"/>
              </a:lnSpc>
              <a:spcBef>
                <a:spcPts val="600"/>
              </a:spcBef>
              <a:spcAft>
                <a:spcPts val="0"/>
              </a:spcAft>
              <a:buFont typeface="Arial" panose="020B0604020202020204" pitchFamily="34" charset="0"/>
              <a:buChar char="•"/>
            </a:pPr>
            <a:r>
              <a:rPr lang="en-US" sz="1600" dirty="0"/>
              <a:t>Educating employees through relevant webinars and trainings</a:t>
            </a:r>
          </a:p>
          <a:p>
            <a:pPr marL="749300" lvl="0" indent="-285750">
              <a:lnSpc>
                <a:spcPct val="120000"/>
              </a:lnSpc>
              <a:spcBef>
                <a:spcPts val="600"/>
              </a:spcBef>
              <a:spcAft>
                <a:spcPts val="0"/>
              </a:spcAft>
              <a:buFont typeface="Arial" panose="020B0604020202020204" pitchFamily="34" charset="0"/>
              <a:buChar char="•"/>
            </a:pPr>
            <a:r>
              <a:rPr lang="en-US" sz="1600" dirty="0"/>
              <a:t>Supporting employees through a critical incident</a:t>
            </a:r>
          </a:p>
          <a:p>
            <a:pPr marL="749300" lvl="0" indent="-285750">
              <a:lnSpc>
                <a:spcPct val="100000"/>
              </a:lnSpc>
              <a:spcBef>
                <a:spcPts val="600"/>
              </a:spcBef>
              <a:spcAft>
                <a:spcPts val="0"/>
              </a:spcAft>
              <a:buFont typeface="Arial" panose="020B0604020202020204" pitchFamily="34" charset="0"/>
              <a:buChar char="•"/>
            </a:pPr>
            <a:r>
              <a:rPr lang="en-US" sz="1600" dirty="0"/>
              <a:t>Maintaining employee performance and productivity by offering a way for employees to address and resolve personal problems before they escalate.  Employees who receive help can be restored back to expected levels of productivity with minimal disruption.</a:t>
            </a:r>
          </a:p>
          <a:p>
            <a:pPr marL="749300" lvl="0" indent="-285750">
              <a:lnSpc>
                <a:spcPct val="120000"/>
              </a:lnSpc>
              <a:spcBef>
                <a:spcPts val="600"/>
              </a:spcBef>
              <a:spcAft>
                <a:spcPts val="0"/>
              </a:spcAft>
              <a:buFont typeface="Arial" panose="020B0604020202020204" pitchFamily="34" charset="0"/>
              <a:buChar char="•"/>
            </a:pPr>
            <a:endParaRPr lang="en-US" sz="1600" dirty="0"/>
          </a:p>
          <a:p>
            <a:pPr lvl="0"/>
            <a:endParaRPr lang="en-US" sz="1800" b="1" dirty="0"/>
          </a:p>
        </p:txBody>
      </p:sp>
    </p:spTree>
    <p:extLst>
      <p:ext uri="{BB962C8B-B14F-4D97-AF65-F5344CB8AC3E}">
        <p14:creationId xmlns:p14="http://schemas.microsoft.com/office/powerpoint/2010/main" val="1505362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3402" y="216977"/>
            <a:ext cx="10665469" cy="371960"/>
          </a:xfrm>
        </p:spPr>
        <p:txBody>
          <a:bodyPr>
            <a:normAutofit fontScale="90000"/>
          </a:bodyPr>
          <a:lstStyle/>
          <a:p>
            <a:r>
              <a:rPr lang="en-US" dirty="0">
                <a:solidFill>
                  <a:srgbClr val="00B0F0"/>
                </a:solidFill>
              </a:rPr>
              <a:t>EAP Performance Management</a:t>
            </a:r>
          </a:p>
        </p:txBody>
      </p:sp>
      <p:sp>
        <p:nvSpPr>
          <p:cNvPr id="3" name="Text Placeholder 2"/>
          <p:cNvSpPr>
            <a:spLocks noGrp="1"/>
          </p:cNvSpPr>
          <p:nvPr>
            <p:ph type="body" sz="quarter" idx="10"/>
          </p:nvPr>
        </p:nvSpPr>
        <p:spPr>
          <a:xfrm>
            <a:off x="810705" y="735291"/>
            <a:ext cx="10880551" cy="5495027"/>
          </a:xfrm>
        </p:spPr>
        <p:txBody>
          <a:bodyPr>
            <a:noAutofit/>
          </a:bodyPr>
          <a:lstStyle/>
          <a:p>
            <a:pPr marL="0" indent="0">
              <a:buNone/>
            </a:pPr>
            <a:r>
              <a:rPr lang="en-US" sz="1600" dirty="0"/>
              <a:t>In addition to providing valuable support to individuals and their families to address issues such as stress, relationships, depression or substance abuse, the EAP is an important resource for managers and supervisors. Available around the clock, EAP can provide management consultation related to:</a:t>
            </a:r>
          </a:p>
          <a:p>
            <a:pPr marL="225425" indent="0">
              <a:spcAft>
                <a:spcPts val="0"/>
              </a:spcAft>
              <a:buNone/>
            </a:pPr>
            <a:r>
              <a:rPr lang="en-US" sz="1600" b="1" u="sng" dirty="0"/>
              <a:t>Employee behavior changes</a:t>
            </a:r>
          </a:p>
          <a:p>
            <a:pPr marL="225425" indent="0">
              <a:buNone/>
            </a:pPr>
            <a:r>
              <a:rPr lang="en-US" sz="1600" dirty="0"/>
              <a:t>As a manager, you may witness a deterioration in performance or sense small behavior changes in an employee that, if left unchecked, could escalate. EAP has experts available to consult with you on how to identify a troubled employee and best refer them to your EAP.</a:t>
            </a:r>
          </a:p>
          <a:p>
            <a:pPr marL="225425" indent="0">
              <a:spcAft>
                <a:spcPts val="0"/>
              </a:spcAft>
              <a:buNone/>
            </a:pPr>
            <a:r>
              <a:rPr lang="en-US" sz="1600" b="1" u="sng" dirty="0"/>
              <a:t>Drop in performance</a:t>
            </a:r>
          </a:p>
          <a:p>
            <a:pPr marL="225425" indent="0">
              <a:buNone/>
            </a:pPr>
            <a:r>
              <a:rPr lang="en-US" sz="1600" dirty="0"/>
              <a:t>Sometimes performance declines to the point where a more comprehensive consultation with your EAP is appropriate. Not only can we help you in coaching the individual and documenting the performance problems and attempted resolution, EAP’s management consultants can guide you in talking to the employee and formally recommending that they contact your EAP.</a:t>
            </a:r>
          </a:p>
          <a:p>
            <a:pPr marL="225425" indent="0">
              <a:spcAft>
                <a:spcPts val="0"/>
              </a:spcAft>
              <a:buNone/>
            </a:pPr>
            <a:r>
              <a:rPr lang="en-US" sz="1600" b="1" u="sng" dirty="0"/>
              <a:t>Threat of violence</a:t>
            </a:r>
          </a:p>
          <a:p>
            <a:pPr marL="225425" indent="0">
              <a:buNone/>
            </a:pPr>
            <a:r>
              <a:rPr lang="en-US" sz="1600" dirty="0"/>
              <a:t>Violence in the workplace generally results from unresolved conflict that escalates out of control. EAP can assist you in dealing with troubled employees and resolving issues before they deteriorate into a potentially violent situation.</a:t>
            </a:r>
          </a:p>
          <a:p>
            <a:endParaRPr lang="en-US" sz="1600" dirty="0"/>
          </a:p>
        </p:txBody>
      </p:sp>
    </p:spTree>
    <p:extLst>
      <p:ext uri="{BB962C8B-B14F-4D97-AF65-F5344CB8AC3E}">
        <p14:creationId xmlns:p14="http://schemas.microsoft.com/office/powerpoint/2010/main" val="3352673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201478"/>
            <a:ext cx="10908792" cy="484321"/>
          </a:xfrm>
        </p:spPr>
        <p:txBody>
          <a:bodyPr>
            <a:normAutofit fontScale="90000"/>
          </a:bodyPr>
          <a:lstStyle/>
          <a:p>
            <a:r>
              <a:rPr lang="en-US" dirty="0">
                <a:solidFill>
                  <a:srgbClr val="00B0F0"/>
                </a:solidFill>
              </a:rPr>
              <a:t>EAP Performance Management</a:t>
            </a:r>
          </a:p>
        </p:txBody>
      </p:sp>
      <p:sp>
        <p:nvSpPr>
          <p:cNvPr id="3" name="Text Placeholder 2"/>
          <p:cNvSpPr>
            <a:spLocks noGrp="1"/>
          </p:cNvSpPr>
          <p:nvPr>
            <p:ph type="body" sz="quarter" idx="10"/>
          </p:nvPr>
        </p:nvSpPr>
        <p:spPr>
          <a:xfrm>
            <a:off x="633046" y="991892"/>
            <a:ext cx="10915826" cy="5141622"/>
          </a:xfrm>
        </p:spPr>
        <p:txBody>
          <a:bodyPr>
            <a:normAutofit/>
          </a:bodyPr>
          <a:lstStyle/>
          <a:p>
            <a:pPr marL="0" indent="0">
              <a:buNone/>
            </a:pPr>
            <a:endParaRPr lang="en-US" sz="1400" dirty="0"/>
          </a:p>
          <a:p>
            <a:pPr marL="0" indent="0">
              <a:buNone/>
            </a:pPr>
            <a:r>
              <a:rPr lang="en-US" sz="1800" b="1" dirty="0"/>
              <a:t>When a team member is not meeting expectations, you need to </a:t>
            </a:r>
          </a:p>
          <a:p>
            <a:pPr marL="285750" indent="-285750">
              <a:buFont typeface="Arial" panose="020B0604020202020204" pitchFamily="34" charset="0"/>
              <a:buChar char="•"/>
            </a:pPr>
            <a:r>
              <a:rPr lang="en-US" sz="1600" dirty="0"/>
              <a:t>explain the gap between the desired result and what the employee has delivered </a:t>
            </a:r>
          </a:p>
          <a:p>
            <a:pPr marL="285750" indent="-285750">
              <a:buFont typeface="Arial" panose="020B0604020202020204" pitchFamily="34" charset="0"/>
              <a:buChar char="•"/>
            </a:pPr>
            <a:r>
              <a:rPr lang="en-US" sz="1600" dirty="0"/>
              <a:t>identify what needs to change, and the timeline for the employee to make that change </a:t>
            </a:r>
          </a:p>
          <a:p>
            <a:pPr marL="285750" indent="-285750">
              <a:buFont typeface="Arial" panose="020B0604020202020204" pitchFamily="34" charset="0"/>
              <a:buChar char="•"/>
            </a:pPr>
            <a:r>
              <a:rPr lang="en-US" sz="1600" dirty="0"/>
              <a:t>provide ongoing coaching, and arrange for additional training as needed </a:t>
            </a:r>
          </a:p>
          <a:p>
            <a:pPr marL="285750" indent="-285750">
              <a:buFont typeface="Arial" panose="020B0604020202020204" pitchFamily="34" charset="0"/>
              <a:buChar char="•"/>
            </a:pPr>
            <a:r>
              <a:rPr lang="en-US" sz="1600" dirty="0"/>
              <a:t>if appropriate, offer information about help available for personal issues through the employee support program </a:t>
            </a:r>
          </a:p>
          <a:p>
            <a:pPr marL="0" indent="0">
              <a:buNone/>
            </a:pPr>
            <a:endParaRPr lang="en-US" sz="1600" dirty="0"/>
          </a:p>
          <a:p>
            <a:pPr marL="0" indent="0">
              <a:buNone/>
            </a:pPr>
            <a:r>
              <a:rPr lang="en-US" sz="1600" dirty="0"/>
              <a:t>By managing performance well, you show that you care about all of your employees, and that you are committed to helping your team succeed. When you ignore performance problems or let them continue for too long, they can affect the morale of the entire team. </a:t>
            </a:r>
          </a:p>
          <a:p>
            <a:endParaRPr lang="en-US" sz="1600" dirty="0"/>
          </a:p>
          <a:p>
            <a:pPr marL="0" indent="0">
              <a:buNone/>
            </a:pPr>
            <a:endParaRPr lang="en-US" sz="1600" dirty="0"/>
          </a:p>
          <a:p>
            <a:pPr marL="0" indent="0">
              <a:buNone/>
            </a:pPr>
            <a:endParaRPr lang="en-US" sz="1400" dirty="0"/>
          </a:p>
        </p:txBody>
      </p:sp>
    </p:spTree>
    <p:extLst>
      <p:ext uri="{BB962C8B-B14F-4D97-AF65-F5344CB8AC3E}">
        <p14:creationId xmlns:p14="http://schemas.microsoft.com/office/powerpoint/2010/main" val="28734256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2424" y="160256"/>
            <a:ext cx="10766447" cy="593888"/>
          </a:xfrm>
        </p:spPr>
        <p:txBody>
          <a:bodyPr>
            <a:normAutofit/>
          </a:bodyPr>
          <a:lstStyle/>
          <a:p>
            <a:r>
              <a:rPr lang="en-US" dirty="0">
                <a:solidFill>
                  <a:srgbClr val="00B0F0"/>
                </a:solidFill>
              </a:rPr>
              <a:t>Signs of a Troubled Employee</a:t>
            </a:r>
          </a:p>
        </p:txBody>
      </p:sp>
      <p:sp>
        <p:nvSpPr>
          <p:cNvPr id="3" name="Text Placeholder 2"/>
          <p:cNvSpPr>
            <a:spLocks noGrp="1"/>
          </p:cNvSpPr>
          <p:nvPr>
            <p:ph type="body" sz="quarter" idx="10"/>
          </p:nvPr>
        </p:nvSpPr>
        <p:spPr>
          <a:xfrm>
            <a:off x="782424" y="857839"/>
            <a:ext cx="5344055" cy="5163133"/>
          </a:xfrm>
        </p:spPr>
        <p:txBody>
          <a:bodyPr>
            <a:noAutofit/>
          </a:bodyPr>
          <a:lstStyle/>
          <a:p>
            <a:pPr marL="285750" indent="-285750">
              <a:lnSpc>
                <a:spcPct val="150000"/>
              </a:lnSpc>
            </a:pPr>
            <a:r>
              <a:rPr lang="en-US" sz="1400" dirty="0">
                <a:solidFill>
                  <a:srgbClr val="7030A0"/>
                </a:solidFill>
              </a:rPr>
              <a:t>Absenteeism</a:t>
            </a:r>
          </a:p>
          <a:p>
            <a:pPr marL="285750" indent="-285750">
              <a:lnSpc>
                <a:spcPct val="150000"/>
              </a:lnSpc>
            </a:pPr>
            <a:r>
              <a:rPr lang="en-US" sz="1400" dirty="0">
                <a:solidFill>
                  <a:srgbClr val="7030A0"/>
                </a:solidFill>
              </a:rPr>
              <a:t>High accident rate</a:t>
            </a:r>
          </a:p>
          <a:p>
            <a:pPr marL="285750" indent="-285750">
              <a:lnSpc>
                <a:spcPct val="150000"/>
              </a:lnSpc>
            </a:pPr>
            <a:r>
              <a:rPr lang="en-US" sz="1400" dirty="0">
                <a:solidFill>
                  <a:srgbClr val="7030A0"/>
                </a:solidFill>
              </a:rPr>
              <a:t>Difficulty with concentration</a:t>
            </a:r>
          </a:p>
          <a:p>
            <a:pPr marL="285750" indent="-285750">
              <a:lnSpc>
                <a:spcPct val="150000"/>
              </a:lnSpc>
            </a:pPr>
            <a:r>
              <a:rPr lang="en-US" sz="1400" dirty="0">
                <a:solidFill>
                  <a:srgbClr val="7030A0"/>
                </a:solidFill>
              </a:rPr>
              <a:t>Erratic work patterns</a:t>
            </a:r>
          </a:p>
          <a:p>
            <a:pPr marL="285750" indent="-285750">
              <a:lnSpc>
                <a:spcPct val="150000"/>
              </a:lnSpc>
            </a:pPr>
            <a:r>
              <a:rPr lang="en-US" sz="1400" dirty="0">
                <a:solidFill>
                  <a:srgbClr val="7030A0"/>
                </a:solidFill>
              </a:rPr>
              <a:t>Changes in personal health and hygiene</a:t>
            </a:r>
          </a:p>
          <a:p>
            <a:pPr marL="285750" indent="-285750">
              <a:lnSpc>
                <a:spcPct val="150000"/>
              </a:lnSpc>
            </a:pPr>
            <a:r>
              <a:rPr lang="en-US" sz="1400" dirty="0">
                <a:solidFill>
                  <a:srgbClr val="7030A0"/>
                </a:solidFill>
              </a:rPr>
              <a:t>Sudden changes in mood</a:t>
            </a:r>
          </a:p>
          <a:p>
            <a:pPr marL="285750" indent="-285750">
              <a:lnSpc>
                <a:spcPct val="150000"/>
              </a:lnSpc>
            </a:pPr>
            <a:r>
              <a:rPr lang="en-US" sz="1400" dirty="0">
                <a:solidFill>
                  <a:srgbClr val="7030A0"/>
                </a:solidFill>
              </a:rPr>
              <a:t>Poor interpersonal interactions</a:t>
            </a:r>
          </a:p>
          <a:p>
            <a:pPr marL="285750" indent="-285750">
              <a:lnSpc>
                <a:spcPct val="150000"/>
              </a:lnSpc>
            </a:pPr>
            <a:r>
              <a:rPr lang="en-US" sz="1400" dirty="0">
                <a:solidFill>
                  <a:srgbClr val="7030A0"/>
                </a:solidFill>
              </a:rPr>
              <a:t>Confusion</a:t>
            </a:r>
          </a:p>
          <a:p>
            <a:pPr marL="285750" indent="-285750">
              <a:lnSpc>
                <a:spcPct val="150000"/>
              </a:lnSpc>
            </a:pPr>
            <a:r>
              <a:rPr lang="en-US" sz="1400" dirty="0">
                <a:solidFill>
                  <a:srgbClr val="7030A0"/>
                </a:solidFill>
              </a:rPr>
              <a:t>Lowered job efficiency</a:t>
            </a:r>
          </a:p>
          <a:p>
            <a:pPr marL="115888" indent="-115888">
              <a:lnSpc>
                <a:spcPct val="150000"/>
              </a:lnSpc>
            </a:pPr>
            <a:endParaRPr lang="en-US" sz="1800" dirty="0">
              <a:solidFill>
                <a:srgbClr val="3737A7"/>
              </a:solidFill>
            </a:endParaRPr>
          </a:p>
          <a:p>
            <a:endParaRPr lang="en-US" sz="1800" dirty="0"/>
          </a:p>
        </p:txBody>
      </p:sp>
    </p:spTree>
    <p:extLst>
      <p:ext uri="{BB962C8B-B14F-4D97-AF65-F5344CB8AC3E}">
        <p14:creationId xmlns:p14="http://schemas.microsoft.com/office/powerpoint/2010/main" val="3671229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9416" y="201478"/>
            <a:ext cx="10789455" cy="635430"/>
          </a:xfrm>
        </p:spPr>
        <p:txBody>
          <a:bodyPr>
            <a:normAutofit fontScale="90000"/>
          </a:bodyPr>
          <a:lstStyle/>
          <a:p>
            <a:r>
              <a:rPr lang="en-US" dirty="0">
                <a:solidFill>
                  <a:srgbClr val="00B0F0"/>
                </a:solidFill>
              </a:rPr>
              <a:t>Five-step process for managing employee concerns</a:t>
            </a:r>
            <a:br>
              <a:rPr lang="en-US" dirty="0"/>
            </a:br>
            <a:endParaRPr lang="en-US" dirty="0"/>
          </a:p>
        </p:txBody>
      </p:sp>
      <p:sp>
        <p:nvSpPr>
          <p:cNvPr id="3" name="Text Placeholder 2"/>
          <p:cNvSpPr>
            <a:spLocks noGrp="1"/>
          </p:cNvSpPr>
          <p:nvPr>
            <p:ph type="body" sz="quarter" idx="10"/>
          </p:nvPr>
        </p:nvSpPr>
        <p:spPr>
          <a:xfrm>
            <a:off x="618978" y="960895"/>
            <a:ext cx="10929893" cy="4928461"/>
          </a:xfrm>
        </p:spPr>
        <p:txBody>
          <a:bodyPr>
            <a:normAutofit fontScale="47500" lnSpcReduction="20000"/>
          </a:bodyPr>
          <a:lstStyle/>
          <a:p>
            <a:pPr marL="0" indent="0">
              <a:buNone/>
            </a:pPr>
            <a:r>
              <a:rPr lang="en-US" sz="2500" b="1" dirty="0"/>
              <a:t>STEP 1: Recognition</a:t>
            </a:r>
            <a:endParaRPr lang="en-US" sz="2500" dirty="0"/>
          </a:p>
          <a:p>
            <a:pPr marL="234950" indent="0">
              <a:buNone/>
            </a:pPr>
            <a:r>
              <a:rPr lang="en-US" sz="2500" dirty="0"/>
              <a:t>You have recognized a pattern of poor performance extending over a period of time. Inform the employee of the problem and allow some time for improvement. Be specific about the behaviors or performance issues that you have identified. It’s important to remain focused on the work performance problems.</a:t>
            </a:r>
          </a:p>
          <a:p>
            <a:pPr marL="0" indent="0">
              <a:buNone/>
            </a:pPr>
            <a:r>
              <a:rPr lang="en-US" sz="2500" b="1" dirty="0"/>
              <a:t>STEP 2: Observation</a:t>
            </a:r>
            <a:endParaRPr lang="en-US" sz="2500" dirty="0"/>
          </a:p>
          <a:p>
            <a:pPr marL="225425" indent="0">
              <a:buNone/>
            </a:pPr>
            <a:r>
              <a:rPr lang="en-US" sz="2500" dirty="0"/>
              <a:t>This is the observation of the pattern of behavior and an exploration of its impact over time. When shared with the employee, this information will assist them in the problem-solving process.</a:t>
            </a:r>
          </a:p>
          <a:p>
            <a:pPr marL="0" indent="0">
              <a:buNone/>
            </a:pPr>
            <a:r>
              <a:rPr lang="en-US" sz="2500" b="1" dirty="0"/>
              <a:t>STEP 3: Documentation</a:t>
            </a:r>
            <a:endParaRPr lang="en-US" sz="2500" dirty="0"/>
          </a:p>
          <a:p>
            <a:pPr marL="225425" indent="0">
              <a:buNone/>
            </a:pPr>
            <a:r>
              <a:rPr lang="en-US" sz="2500" dirty="0"/>
              <a:t>This involves keeping a written log of the observations made over time, which serves to help you and the employee see exactly what is going wrong.</a:t>
            </a:r>
          </a:p>
          <a:p>
            <a:pPr marL="0" indent="0">
              <a:buNone/>
            </a:pPr>
            <a:r>
              <a:rPr lang="en-US" sz="2500" b="1" dirty="0"/>
              <a:t>STEP 4: Feedback</a:t>
            </a:r>
            <a:endParaRPr lang="en-US" sz="2500" dirty="0"/>
          </a:p>
          <a:p>
            <a:pPr marL="225425" indent="0">
              <a:buNone/>
            </a:pPr>
            <a:r>
              <a:rPr lang="en-US" sz="2500" dirty="0"/>
              <a:t>Using the information from the written log, the manager/supervisor presents it back to the employee. Then, with the employee, you help to define the specific problems.</a:t>
            </a:r>
          </a:p>
          <a:p>
            <a:pPr marL="0" indent="0">
              <a:buNone/>
            </a:pPr>
            <a:r>
              <a:rPr lang="en-US" sz="2500" b="1" dirty="0"/>
              <a:t>STEP 5: Resolution</a:t>
            </a:r>
            <a:endParaRPr lang="en-US" sz="2500" dirty="0"/>
          </a:p>
          <a:p>
            <a:pPr marL="234950" indent="0">
              <a:buNone/>
            </a:pPr>
            <a:r>
              <a:rPr lang="en-US" sz="2500" dirty="0"/>
              <a:t>Use the documented information and discussion with the employee to develop a problem statement that will eventually lead to a resolution of the problem. That’s the ultimate goal—resolution of the problem. By working with the employee, you can look at possible options for solving the defined problem. Will additional training help? Is this a point where progressive discipline is needed? Would a referral to EAP help?  </a:t>
            </a:r>
            <a:endParaRPr lang="en-US" dirty="0"/>
          </a:p>
        </p:txBody>
      </p:sp>
    </p:spTree>
    <p:extLst>
      <p:ext uri="{BB962C8B-B14F-4D97-AF65-F5344CB8AC3E}">
        <p14:creationId xmlns:p14="http://schemas.microsoft.com/office/powerpoint/2010/main" val="16933509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solidFill>
                  <a:srgbClr val="00B0F0"/>
                </a:solidFill>
              </a:rPr>
              <a:t>Supervisory Consultation Through EAP</a:t>
            </a:r>
          </a:p>
        </p:txBody>
      </p:sp>
      <p:sp>
        <p:nvSpPr>
          <p:cNvPr id="3" name="Text Placeholder 2"/>
          <p:cNvSpPr>
            <a:spLocks noGrp="1"/>
          </p:cNvSpPr>
          <p:nvPr>
            <p:ph type="body" sz="quarter" idx="10"/>
          </p:nvPr>
        </p:nvSpPr>
        <p:spPr>
          <a:xfrm>
            <a:off x="640080" y="1828800"/>
            <a:ext cx="9092856" cy="3657600"/>
          </a:xfrm>
        </p:spPr>
        <p:txBody>
          <a:bodyPr>
            <a:normAutofit/>
          </a:bodyPr>
          <a:lstStyle/>
          <a:p>
            <a:pPr marL="285750" indent="-285750">
              <a:buFont typeface="Arial" panose="020B0604020202020204" pitchFamily="34" charset="0"/>
              <a:buChar char="•"/>
            </a:pPr>
            <a:r>
              <a:rPr lang="en-US" sz="1600" dirty="0"/>
              <a:t>Helps you prepare for session with employee</a:t>
            </a:r>
          </a:p>
          <a:p>
            <a:pPr marL="285750" indent="-285750">
              <a:buFont typeface="Arial" panose="020B0604020202020204" pitchFamily="34" charset="0"/>
              <a:buChar char="•"/>
            </a:pPr>
            <a:r>
              <a:rPr lang="en-US" sz="1600" dirty="0"/>
              <a:t>Reinforces and strengthens your skills</a:t>
            </a:r>
          </a:p>
          <a:p>
            <a:pPr marL="285750" indent="-285750">
              <a:buFont typeface="Arial" panose="020B0604020202020204" pitchFamily="34" charset="0"/>
              <a:buChar char="•"/>
            </a:pPr>
            <a:r>
              <a:rPr lang="en-US" sz="1600" dirty="0"/>
              <a:t>Provides emotional support</a:t>
            </a:r>
          </a:p>
          <a:p>
            <a:pPr marL="285750" indent="-285750">
              <a:buFont typeface="Arial" panose="020B0604020202020204" pitchFamily="34" charset="0"/>
              <a:buChar char="•"/>
            </a:pPr>
            <a:r>
              <a:rPr lang="en-US" sz="1600" dirty="0"/>
              <a:t>Clarifies the procedure for referring employee to the Employee Assistance Program</a:t>
            </a:r>
          </a:p>
          <a:p>
            <a:pPr marL="285750" indent="-285750">
              <a:buFont typeface="Arial" panose="020B0604020202020204" pitchFamily="34" charset="0"/>
              <a:buChar char="•"/>
            </a:pPr>
            <a:r>
              <a:rPr lang="en-US" sz="1600" dirty="0"/>
              <a:t>Assists in determining the appropriate type of EAP referral</a:t>
            </a:r>
          </a:p>
          <a:p>
            <a:pPr marL="285750" indent="-285750">
              <a:buFont typeface="Arial" panose="020B0604020202020204" pitchFamily="34" charset="0"/>
              <a:buChar char="•"/>
            </a:pPr>
            <a:r>
              <a:rPr lang="en-US" sz="1600" dirty="0"/>
              <a:t>Provides additional resources</a:t>
            </a: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4023016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5D7F7-0075-4909-ACE6-6FA114FBCA0E}"/>
              </a:ext>
            </a:extLst>
          </p:cNvPr>
          <p:cNvSpPr>
            <a:spLocks noGrp="1"/>
          </p:cNvSpPr>
          <p:nvPr>
            <p:ph type="title"/>
          </p:nvPr>
        </p:nvSpPr>
        <p:spPr>
          <a:xfrm>
            <a:off x="898901" y="253218"/>
            <a:ext cx="11680863" cy="745588"/>
          </a:xfrm>
        </p:spPr>
        <p:txBody>
          <a:bodyPr anchor="ctr">
            <a:noAutofit/>
          </a:bodyPr>
          <a:lstStyle/>
          <a:p>
            <a:r>
              <a:rPr lang="en-US" b="1" dirty="0">
                <a:solidFill>
                  <a:srgbClr val="00B0F0"/>
                </a:solidFill>
                <a:latin typeface="Arial"/>
                <a:cs typeface="Arial"/>
              </a:rPr>
              <a:t>Types of EAP Referrals  </a:t>
            </a:r>
          </a:p>
        </p:txBody>
      </p:sp>
      <p:sp>
        <p:nvSpPr>
          <p:cNvPr id="4" name="Rectangle 3"/>
          <p:cNvSpPr/>
          <p:nvPr/>
        </p:nvSpPr>
        <p:spPr>
          <a:xfrm>
            <a:off x="542442" y="1162373"/>
            <a:ext cx="11202146" cy="4563109"/>
          </a:xfrm>
          <a:prstGeom prst="rect">
            <a:avLst/>
          </a:prstGeom>
        </p:spPr>
        <p:txBody>
          <a:bodyPr wrap="square">
            <a:spAutoFit/>
          </a:bodyPr>
          <a:lstStyle/>
          <a:p>
            <a:pPr defTabSz="914400">
              <a:lnSpc>
                <a:spcPct val="114000"/>
              </a:lnSpc>
              <a:spcBef>
                <a:spcPts val="1200"/>
              </a:spcBef>
              <a:buSzPct val="90000"/>
            </a:pPr>
            <a:endParaRPr lang="en-US" b="1" dirty="0">
              <a:latin typeface="Georgia" panose="02040502050405020303" pitchFamily="18" charset="0"/>
              <a:cs typeface="Calibri" panose="020F0502020204030204" pitchFamily="34" charset="0"/>
            </a:endParaRPr>
          </a:p>
          <a:p>
            <a:pPr marL="287338" lvl="1" indent="-287338">
              <a:spcBef>
                <a:spcPts val="1200"/>
              </a:spcBef>
              <a:spcAft>
                <a:spcPts val="600"/>
              </a:spcAft>
              <a:buFont typeface="Arial" panose="020B0604020202020204" pitchFamily="34" charset="0"/>
              <a:buChar char="•"/>
            </a:pPr>
            <a:r>
              <a:rPr lang="en-US" sz="1600" u="sng" dirty="0">
                <a:latin typeface="Georgia" panose="02040502050405020303" pitchFamily="18" charset="0"/>
                <a:cs typeface="Calibri" panose="020F0502020204030204" pitchFamily="34" charset="0"/>
              </a:rPr>
              <a:t>Management consultation</a:t>
            </a:r>
            <a:r>
              <a:rPr lang="en-US" sz="1600" dirty="0">
                <a:latin typeface="Georgia" panose="02040502050405020303" pitchFamily="18" charset="0"/>
                <a:cs typeface="Calibri" panose="020F0502020204030204" pitchFamily="34" charset="0"/>
              </a:rPr>
              <a:t>: Beacon clinicians provide consultation related to employee behavioral concerns and demonstrated work performance issues (</a:t>
            </a:r>
            <a:r>
              <a:rPr lang="en-US" sz="1600" i="1" dirty="0">
                <a:latin typeface="Georgia" panose="02040502050405020303" pitchFamily="18" charset="0"/>
                <a:cs typeface="Calibri" panose="020F0502020204030204" pitchFamily="34" charset="0"/>
              </a:rPr>
              <a:t>increased absenteeism, erratic work patterns, poor interpersonal interactions</a:t>
            </a:r>
            <a:r>
              <a:rPr lang="en-US" sz="1600" dirty="0">
                <a:latin typeface="Georgia" panose="02040502050405020303" pitchFamily="18" charset="0"/>
                <a:cs typeface="Calibri" panose="020F0502020204030204" pitchFamily="34" charset="0"/>
              </a:rPr>
              <a:t>) </a:t>
            </a:r>
          </a:p>
          <a:p>
            <a:pPr marL="287338" lvl="1" indent="-287338">
              <a:spcBef>
                <a:spcPts val="600"/>
              </a:spcBef>
              <a:buFont typeface="Arial" panose="020B0604020202020204" pitchFamily="34" charset="0"/>
              <a:buChar char="•"/>
            </a:pPr>
            <a:r>
              <a:rPr lang="en-US" sz="1600" u="sng" dirty="0">
                <a:latin typeface="Georgia" panose="02040502050405020303" pitchFamily="18" charset="0"/>
                <a:cs typeface="Calibri" panose="020F0502020204030204" pitchFamily="34" charset="0"/>
              </a:rPr>
              <a:t>Informal Referral</a:t>
            </a:r>
            <a:r>
              <a:rPr lang="en-US" sz="1600" dirty="0">
                <a:latin typeface="Georgia" panose="02040502050405020303" pitchFamily="18" charset="0"/>
                <a:cs typeface="Calibri" panose="020F0502020204030204" pitchFamily="34" charset="0"/>
              </a:rPr>
              <a:t>: A referral that is made when the worksite representative is concerned about an employee and is assisting the employee in accessing EAP services. Generally, there are no specific work performance issues that would warrant a formal referral. Informal referrals may also be referred to as “concern referrals.”</a:t>
            </a:r>
            <a:endParaRPr lang="en-US" sz="1600" u="sng" dirty="0">
              <a:latin typeface="Georgia" panose="02040502050405020303" pitchFamily="18" charset="0"/>
              <a:cs typeface="Calibri" panose="020F0502020204030204" pitchFamily="34" charset="0"/>
            </a:endParaRPr>
          </a:p>
          <a:p>
            <a:pPr marL="287338" lvl="1" indent="-287338">
              <a:spcBef>
                <a:spcPts val="1200"/>
              </a:spcBef>
              <a:spcAft>
                <a:spcPts val="600"/>
              </a:spcAft>
              <a:buFont typeface="Arial" panose="020B0604020202020204" pitchFamily="34" charset="0"/>
              <a:buChar char="•"/>
            </a:pPr>
            <a:r>
              <a:rPr lang="en-US" sz="1600" u="sng" dirty="0">
                <a:latin typeface="Georgia" panose="02040502050405020303" pitchFamily="18" charset="0"/>
                <a:cs typeface="Calibri" panose="020F0502020204030204" pitchFamily="34" charset="0"/>
              </a:rPr>
              <a:t>Formal Referral: </a:t>
            </a:r>
            <a:r>
              <a:rPr lang="en-US" sz="1600" dirty="0">
                <a:latin typeface="Georgia" panose="02040502050405020303" pitchFamily="18" charset="0"/>
                <a:cs typeface="Calibri" panose="020F0502020204030204" pitchFamily="34" charset="0"/>
              </a:rPr>
              <a:t>A formal recommendation by the worksite representative for an employee to access EAP services with no potential job jeopardy for non-participation. Feedback is provided to the worksite representative regarding an employee’s participation with EAP recommendations with a ROI. </a:t>
            </a:r>
          </a:p>
          <a:p>
            <a:pPr marL="287338" lvl="1" indent="-287338">
              <a:spcBef>
                <a:spcPts val="1200"/>
              </a:spcBef>
              <a:spcAft>
                <a:spcPts val="600"/>
              </a:spcAft>
              <a:buFont typeface="Arial" panose="020B0604020202020204" pitchFamily="34" charset="0"/>
              <a:buChar char="•"/>
            </a:pPr>
            <a:r>
              <a:rPr lang="en-US" sz="1600" u="sng" dirty="0">
                <a:latin typeface="Georgia" panose="02040502050405020303" pitchFamily="18" charset="0"/>
                <a:cs typeface="Calibri" panose="020F0502020204030204" pitchFamily="34" charset="0"/>
              </a:rPr>
              <a:t>Mandatory Referral: </a:t>
            </a:r>
            <a:r>
              <a:rPr lang="en-US" sz="1600" dirty="0">
                <a:latin typeface="Georgia" panose="02040502050405020303" pitchFamily="18" charset="0"/>
                <a:cs typeface="Calibri" panose="020F0502020204030204" pitchFamily="34" charset="0"/>
              </a:rPr>
              <a:t>A referral by a worksite representative for an employee with potential job jeopardy for non-participation. Feedback is provided to the worksite representative regarding an employee’s participation with EAP recommendations with an ROI. </a:t>
            </a:r>
          </a:p>
          <a:p>
            <a:pPr marL="2455862" lvl="6">
              <a:spcBef>
                <a:spcPts val="1200"/>
              </a:spcBef>
              <a:spcAft>
                <a:spcPts val="600"/>
              </a:spcAft>
            </a:pPr>
            <a:r>
              <a:rPr lang="en-US" dirty="0">
                <a:latin typeface="Calibri" panose="020F0502020204030204" pitchFamily="34" charset="0"/>
                <a:cs typeface="Calibri" panose="020F0502020204030204" pitchFamily="34" charset="0"/>
              </a:rPr>
              <a:t>		</a:t>
            </a:r>
            <a:r>
              <a:rPr lang="en-US" dirty="0">
                <a:solidFill>
                  <a:srgbClr val="000000"/>
                </a:solidFill>
                <a:latin typeface="Calibri" panose="020F0502020204030204" pitchFamily="34" charset="0"/>
                <a:cs typeface="Calibri" panose="020F0502020204030204" pitchFamily="34" charset="0"/>
              </a:rPr>
              <a:t>Call </a:t>
            </a:r>
            <a:r>
              <a:rPr lang="en-US" b="1" i="1" dirty="0">
                <a:solidFill>
                  <a:srgbClr val="000000"/>
                </a:solidFill>
                <a:latin typeface="Calibri" panose="020F0502020204030204" pitchFamily="34" charset="0"/>
                <a:cs typeface="Calibri" panose="020F0502020204030204" pitchFamily="34" charset="0"/>
              </a:rPr>
              <a:t>800-444-9559</a:t>
            </a:r>
            <a:r>
              <a:rPr lang="en-US" i="1" dirty="0">
                <a:solidFill>
                  <a:srgbClr val="000000"/>
                </a:solidFill>
                <a:latin typeface="Calibri" panose="020F0502020204030204" pitchFamily="34" charset="0"/>
                <a:cs typeface="Calibri" panose="020F0502020204030204" pitchFamily="34" charset="0"/>
              </a:rPr>
              <a:t> </a:t>
            </a:r>
            <a:r>
              <a:rPr lang="en-US" dirty="0">
                <a:solidFill>
                  <a:srgbClr val="000000"/>
                </a:solidFill>
                <a:latin typeface="Calibri" panose="020F0502020204030204" pitchFamily="34" charset="0"/>
                <a:cs typeface="Calibri" panose="020F0502020204030204" pitchFamily="34" charset="0"/>
              </a:rPr>
              <a:t>to access these services </a:t>
            </a:r>
          </a:p>
        </p:txBody>
      </p:sp>
    </p:spTree>
    <p:extLst>
      <p:ext uri="{BB962C8B-B14F-4D97-AF65-F5344CB8AC3E}">
        <p14:creationId xmlns:p14="http://schemas.microsoft.com/office/powerpoint/2010/main" val="3486578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B0F0"/>
                </a:solidFill>
              </a:rPr>
              <a:t>Informal Referral</a:t>
            </a:r>
          </a:p>
        </p:txBody>
      </p:sp>
      <p:sp>
        <p:nvSpPr>
          <p:cNvPr id="3" name="Text Placeholder 2"/>
          <p:cNvSpPr>
            <a:spLocks noGrp="1"/>
          </p:cNvSpPr>
          <p:nvPr>
            <p:ph type="body" sz="quarter" idx="10"/>
          </p:nvPr>
        </p:nvSpPr>
        <p:spPr>
          <a:xfrm>
            <a:off x="640080" y="1828800"/>
            <a:ext cx="10515600" cy="3657600"/>
          </a:xfrm>
        </p:spPr>
        <p:txBody>
          <a:bodyPr>
            <a:normAutofit/>
          </a:bodyPr>
          <a:lstStyle/>
          <a:p>
            <a:pPr marL="0" indent="0">
              <a:buNone/>
            </a:pPr>
            <a:r>
              <a:rPr lang="en-US" sz="1600" dirty="0"/>
              <a:t>When you notice a performance issue and either find out or suspect that a personal issue may be the cause (such as anxiety, dependent care, family conflict, or worry about financial or legal matters), you can help the employee by suggesting they contact the employee assistance program. This is called an “</a:t>
            </a:r>
            <a:r>
              <a:rPr lang="en-US" sz="1600" i="1" dirty="0"/>
              <a:t>informal referral</a:t>
            </a:r>
            <a:r>
              <a:rPr lang="en-US" sz="1600" dirty="0"/>
              <a:t>.”  You are placing no obligation on the employee to follow up on your suggestion, though you should be clear about expectations for work performance.</a:t>
            </a:r>
          </a:p>
          <a:p>
            <a:pPr marL="0" indent="0">
              <a:buNone/>
            </a:pPr>
            <a:endParaRPr lang="en-US" sz="1800" dirty="0"/>
          </a:p>
        </p:txBody>
      </p:sp>
    </p:spTree>
    <p:extLst>
      <p:ext uri="{BB962C8B-B14F-4D97-AF65-F5344CB8AC3E}">
        <p14:creationId xmlns:p14="http://schemas.microsoft.com/office/powerpoint/2010/main" val="3266316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relon Behavioral Health">
  <a:themeElements>
    <a:clrScheme name="Carelon">
      <a:dk1>
        <a:srgbClr val="5009B5"/>
      </a:dk1>
      <a:lt1>
        <a:srgbClr val="FFFFFF"/>
      </a:lt1>
      <a:dk2>
        <a:srgbClr val="231E33"/>
      </a:dk2>
      <a:lt2>
        <a:srgbClr val="E1EDFF"/>
      </a:lt2>
      <a:accent1>
        <a:srgbClr val="5009B5"/>
      </a:accent1>
      <a:accent2>
        <a:srgbClr val="794CFF"/>
      </a:accent2>
      <a:accent3>
        <a:srgbClr val="2B1B49"/>
      </a:accent3>
      <a:accent4>
        <a:srgbClr val="F5F5F5"/>
      </a:accent4>
      <a:accent5>
        <a:srgbClr val="00BBBA"/>
      </a:accent5>
      <a:accent6>
        <a:srgbClr val="44B8F3"/>
      </a:accent6>
      <a:hlink>
        <a:srgbClr val="0F61FE"/>
      </a:hlink>
      <a:folHlink>
        <a:srgbClr val="7030A0"/>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231E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custClr name="Purple">
      <a:srgbClr val="5009B5"/>
    </a:custClr>
    <a:custClr name="Light Purple">
      <a:srgbClr val="794CFF"/>
    </a:custClr>
    <a:custClr name="Pale Purple">
      <a:srgbClr val="EBE4FF"/>
    </a:custClr>
    <a:custClr name="Turquoise">
      <a:srgbClr val="00BBBA"/>
    </a:custClr>
    <a:custClr name="Pale Turquoise">
      <a:srgbClr val="D9F5F5"/>
    </a:custClr>
    <a:custClr name="Cyan">
      <a:srgbClr val="44B8F3"/>
    </a:custClr>
    <a:custClr name="Pale Cyan">
      <a:srgbClr val="E1EDFF"/>
    </a:custClr>
    <a:custClr name="Dark Gray">
      <a:srgbClr val="231E33"/>
    </a:custClr>
    <a:custClr name="Pale Gray">
      <a:srgbClr val="F5F5F5"/>
    </a:custClr>
  </a:custClrLst>
  <a:extLst>
    <a:ext uri="{05A4C25C-085E-4340-85A3-A5531E510DB2}">
      <thm15:themeFamily xmlns:thm15="http://schemas.microsoft.com/office/thememl/2012/main" name="Caerlon_Aliza_WIP_3" id="{9AA638BC-CEBC-2E4A-8D9D-AAAC02413BA0}" vid="{8D6E6131-F07E-9743-826C-71023018793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Elevance Sans"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4F9B59BB6DC6849958A9F5E607683E8" ma:contentTypeVersion="15" ma:contentTypeDescription="Create a new document." ma:contentTypeScope="" ma:versionID="3d52cc172a894ca43baad0dc8d8b6341">
  <xsd:schema xmlns:xsd="http://www.w3.org/2001/XMLSchema" xmlns:xs="http://www.w3.org/2001/XMLSchema" xmlns:p="http://schemas.microsoft.com/office/2006/metadata/properties" xmlns:ns2="1c07ca45-ab90-4d0e-b786-09f3d7d72bf4" xmlns:ns3="717cd553-0ad9-469e-9199-870f6fe6e3dc" targetNamespace="http://schemas.microsoft.com/office/2006/metadata/properties" ma:root="true" ma:fieldsID="684afc1cc9051c05d8b279928243eaae" ns2:_="" ns3:_="">
    <xsd:import namespace="1c07ca45-ab90-4d0e-b786-09f3d7d72bf4"/>
    <xsd:import namespace="717cd553-0ad9-469e-9199-870f6fe6e3d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07ca45-ab90-4d0e-b786-09f3d7d72b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f7211254-7f19-4422-a48c-200666b12ac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17cd553-0ad9-469e-9199-870f6fe6e3d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3c1303ee-6c34-43ee-ae42-0aa6d0212c51}" ma:internalName="TaxCatchAll" ma:showField="CatchAllData" ma:web="717cd553-0ad9-469e-9199-870f6fe6e3d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c07ca45-ab90-4d0e-b786-09f3d7d72bf4">
      <Terms xmlns="http://schemas.microsoft.com/office/infopath/2007/PartnerControls"/>
    </lcf76f155ced4ddcb4097134ff3c332f>
    <TaxCatchAll xmlns="717cd553-0ad9-469e-9199-870f6fe6e3dc" xsi:nil="true"/>
  </documentManagement>
</p:properties>
</file>

<file path=customXml/itemProps1.xml><?xml version="1.0" encoding="utf-8"?>
<ds:datastoreItem xmlns:ds="http://schemas.openxmlformats.org/officeDocument/2006/customXml" ds:itemID="{3A879919-1E6C-43A5-8596-997C9049FE83}">
  <ds:schemaRefs>
    <ds:schemaRef ds:uri="http://schemas.microsoft.com/sharepoint/v3/contenttype/forms"/>
  </ds:schemaRefs>
</ds:datastoreItem>
</file>

<file path=customXml/itemProps2.xml><?xml version="1.0" encoding="utf-8"?>
<ds:datastoreItem xmlns:ds="http://schemas.openxmlformats.org/officeDocument/2006/customXml" ds:itemID="{D2FEB056-D75B-4C33-AC82-9695E1DE6291}"/>
</file>

<file path=customXml/itemProps3.xml><?xml version="1.0" encoding="utf-8"?>
<ds:datastoreItem xmlns:ds="http://schemas.openxmlformats.org/officeDocument/2006/customXml" ds:itemID="{F7C0A076-1BB0-4104-8BB5-0ECF7CDB5E02}">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arelon Behavioral Health</Template>
  <TotalTime>23404</TotalTime>
  <Words>1668</Words>
  <Application>Microsoft Office PowerPoint</Application>
  <PresentationFormat>Widescreen</PresentationFormat>
  <Paragraphs>113</Paragraphs>
  <Slides>16</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Century Gothic</vt:lpstr>
      <vt:lpstr>Georgia</vt:lpstr>
      <vt:lpstr>Elevance Sans Medium</vt:lpstr>
      <vt:lpstr>Elevance Sans</vt:lpstr>
      <vt:lpstr>Courier New</vt:lpstr>
      <vt:lpstr>Arial</vt:lpstr>
      <vt:lpstr>Calibri</vt:lpstr>
      <vt:lpstr>Carelon Behavioral Health</vt:lpstr>
      <vt:lpstr>think-cell Slide</vt:lpstr>
      <vt:lpstr>EAP and Performance Management</vt:lpstr>
      <vt:lpstr>EAP as a Manager’s Tool</vt:lpstr>
      <vt:lpstr>EAP Performance Management</vt:lpstr>
      <vt:lpstr>EAP Performance Management</vt:lpstr>
      <vt:lpstr>Signs of a Troubled Employee</vt:lpstr>
      <vt:lpstr>Five-step process for managing employee concerns </vt:lpstr>
      <vt:lpstr>Supervisory Consultation Through EAP</vt:lpstr>
      <vt:lpstr>Types of EAP Referrals  </vt:lpstr>
      <vt:lpstr>Informal Referral</vt:lpstr>
      <vt:lpstr>Formal Referral</vt:lpstr>
      <vt:lpstr>Mandatory Referral</vt:lpstr>
      <vt:lpstr>Process for Manager  Consultation, Informal  and Formal Referrals</vt:lpstr>
      <vt:lpstr>Fitness for Duty Evaluation*</vt:lpstr>
      <vt:lpstr>Tips for EAP Referral</vt:lpstr>
      <vt:lpstr>Carrier Employee Assistance Progra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ent Advisory Group</dc:title>
  <dc:creator>Aliza Lewis</dc:creator>
  <cp:lastModifiedBy>Weaver, Kelly</cp:lastModifiedBy>
  <cp:revision>136</cp:revision>
  <dcterms:created xsi:type="dcterms:W3CDTF">2023-03-23T15:08:12Z</dcterms:created>
  <dcterms:modified xsi:type="dcterms:W3CDTF">2024-05-01T18:2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F9B59BB6DC6849958A9F5E607683E8</vt:lpwstr>
  </property>
</Properties>
</file>